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98" r:id="rId1"/>
  </p:sldMasterIdLst>
  <p:notesMasterIdLst>
    <p:notesMasterId r:id="rId15"/>
  </p:notesMasterIdLst>
  <p:sldIdLst>
    <p:sldId id="256" r:id="rId2"/>
    <p:sldId id="258" r:id="rId3"/>
    <p:sldId id="261" r:id="rId4"/>
    <p:sldId id="259" r:id="rId5"/>
    <p:sldId id="264" r:id="rId6"/>
    <p:sldId id="268" r:id="rId7"/>
    <p:sldId id="262" r:id="rId8"/>
    <p:sldId id="269" r:id="rId9"/>
    <p:sldId id="274" r:id="rId10"/>
    <p:sldId id="275" r:id="rId11"/>
    <p:sldId id="283" r:id="rId12"/>
    <p:sldId id="280" r:id="rId13"/>
    <p:sldId id="282" r:id="rId14"/>
  </p:sldIdLst>
  <p:sldSz cx="9144000" cy="5143500" type="screen16x9"/>
  <p:notesSz cx="6858000" cy="9144000"/>
  <p:custDataLst>
    <p:tags r:id="rId1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26A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476153-0AFA-48A2-8AE3-9A1607BFD221}" v="429" dt="2022-12-21T18:19:07.027"/>
  </p1510:revLst>
</p1510:revInfo>
</file>

<file path=ppt/tableStyles.xml><?xml version="1.0" encoding="utf-8"?>
<a:tblStyleLst xmlns:a="http://schemas.openxmlformats.org/drawingml/2006/main" def="{C991676E-3DDF-466E-A49D-248D751EAD44}">
  <a:tblStyle styleId="{C991676E-3DDF-466E-A49D-248D751EAD44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2" d="100"/>
          <a:sy n="142" d="100"/>
        </p:scale>
        <p:origin x="714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a Evrard Comas" userId="133e4c92-0019-454e-a908-a8ccb959cd34" providerId="ADAL" clId="{3E476153-0AFA-48A2-8AE3-9A1607BFD221}"/>
    <pc:docChg chg="undo custSel delSld modSld">
      <pc:chgData name="Andrea Evrard Comas" userId="133e4c92-0019-454e-a908-a8ccb959cd34" providerId="ADAL" clId="{3E476153-0AFA-48A2-8AE3-9A1607BFD221}" dt="2022-12-21T18:19:05.284" v="1454"/>
      <pc:docMkLst>
        <pc:docMk/>
      </pc:docMkLst>
      <pc:sldChg chg="addSp delSp modSp mod">
        <pc:chgData name="Andrea Evrard Comas" userId="133e4c92-0019-454e-a908-a8ccb959cd34" providerId="ADAL" clId="{3E476153-0AFA-48A2-8AE3-9A1607BFD221}" dt="2022-12-21T18:09:42.990" v="222" actId="1440"/>
        <pc:sldMkLst>
          <pc:docMk/>
          <pc:sldMk cId="0" sldId="275"/>
        </pc:sldMkLst>
        <pc:picChg chg="del">
          <ac:chgData name="Andrea Evrard Comas" userId="133e4c92-0019-454e-a908-a8ccb959cd34" providerId="ADAL" clId="{3E476153-0AFA-48A2-8AE3-9A1607BFD221}" dt="2022-12-21T18:09:40.393" v="219" actId="478"/>
          <ac:picMkLst>
            <pc:docMk/>
            <pc:sldMk cId="0" sldId="275"/>
            <ac:picMk id="15" creationId="{94E1D43A-6880-43DE-9225-19B2FAD0100E}"/>
          </ac:picMkLst>
        </pc:picChg>
        <pc:picChg chg="add mod">
          <ac:chgData name="Andrea Evrard Comas" userId="133e4c92-0019-454e-a908-a8ccb959cd34" providerId="ADAL" clId="{3E476153-0AFA-48A2-8AE3-9A1607BFD221}" dt="2022-12-21T18:09:42.990" v="222" actId="1440"/>
          <ac:picMkLst>
            <pc:docMk/>
            <pc:sldMk cId="0" sldId="275"/>
            <ac:picMk id="19" creationId="{C713173E-D0C3-4279-A1AD-670827B9E842}"/>
          </ac:picMkLst>
        </pc:picChg>
      </pc:sldChg>
      <pc:sldChg chg="addSp delSp modSp mod">
        <pc:chgData name="Andrea Evrard Comas" userId="133e4c92-0019-454e-a908-a8ccb959cd34" providerId="ADAL" clId="{3E476153-0AFA-48A2-8AE3-9A1607BFD221}" dt="2022-12-21T18:19:05.284" v="1454"/>
        <pc:sldMkLst>
          <pc:docMk/>
          <pc:sldMk cId="0" sldId="280"/>
        </pc:sldMkLst>
        <pc:spChg chg="add del mod">
          <ac:chgData name="Andrea Evrard Comas" userId="133e4c92-0019-454e-a908-a8ccb959cd34" providerId="ADAL" clId="{3E476153-0AFA-48A2-8AE3-9A1607BFD221}" dt="2022-12-21T18:14:06.144" v="846" actId="478"/>
          <ac:spMkLst>
            <pc:docMk/>
            <pc:sldMk cId="0" sldId="280"/>
            <ac:spMk id="9" creationId="{B77AF1ED-A4F2-48CF-8522-2CB7A95B4E30}"/>
          </ac:spMkLst>
        </pc:spChg>
        <pc:spChg chg="add mod">
          <ac:chgData name="Andrea Evrard Comas" userId="133e4c92-0019-454e-a908-a8ccb959cd34" providerId="ADAL" clId="{3E476153-0AFA-48A2-8AE3-9A1607BFD221}" dt="2022-12-21T18:19:04.772" v="1452" actId="1038"/>
          <ac:spMkLst>
            <pc:docMk/>
            <pc:sldMk cId="0" sldId="280"/>
            <ac:spMk id="21" creationId="{EAD1C7AC-4358-406C-B815-5A4F29559858}"/>
          </ac:spMkLst>
        </pc:spChg>
        <pc:spChg chg="mod">
          <ac:chgData name="Andrea Evrard Comas" userId="133e4c92-0019-454e-a908-a8ccb959cd34" providerId="ADAL" clId="{3E476153-0AFA-48A2-8AE3-9A1607BFD221}" dt="2022-12-21T18:10:23.779" v="259" actId="14100"/>
          <ac:spMkLst>
            <pc:docMk/>
            <pc:sldMk cId="0" sldId="280"/>
            <ac:spMk id="776" creationId="{00000000-0000-0000-0000-000000000000}"/>
          </ac:spMkLst>
        </pc:spChg>
        <pc:spChg chg="mod">
          <ac:chgData name="Andrea Evrard Comas" userId="133e4c92-0019-454e-a908-a8ccb959cd34" providerId="ADAL" clId="{3E476153-0AFA-48A2-8AE3-9A1607BFD221}" dt="2022-12-21T18:18:59.904" v="1447" actId="1035"/>
          <ac:spMkLst>
            <pc:docMk/>
            <pc:sldMk cId="0" sldId="280"/>
            <ac:spMk id="777" creationId="{00000000-0000-0000-0000-000000000000}"/>
          </ac:spMkLst>
        </pc:spChg>
        <pc:spChg chg="mod">
          <ac:chgData name="Andrea Evrard Comas" userId="133e4c92-0019-454e-a908-a8ccb959cd34" providerId="ADAL" clId="{3E476153-0AFA-48A2-8AE3-9A1607BFD221}" dt="2022-12-21T18:18:59.904" v="1447" actId="1035"/>
          <ac:spMkLst>
            <pc:docMk/>
            <pc:sldMk cId="0" sldId="280"/>
            <ac:spMk id="778" creationId="{00000000-0000-0000-0000-000000000000}"/>
          </ac:spMkLst>
        </pc:spChg>
        <pc:spChg chg="mod">
          <ac:chgData name="Andrea Evrard Comas" userId="133e4c92-0019-454e-a908-a8ccb959cd34" providerId="ADAL" clId="{3E476153-0AFA-48A2-8AE3-9A1607BFD221}" dt="2022-12-21T18:18:54.047" v="1428" actId="1035"/>
          <ac:spMkLst>
            <pc:docMk/>
            <pc:sldMk cId="0" sldId="280"/>
            <ac:spMk id="779" creationId="{00000000-0000-0000-0000-000000000000}"/>
          </ac:spMkLst>
        </pc:spChg>
        <pc:spChg chg="mod">
          <ac:chgData name="Andrea Evrard Comas" userId="133e4c92-0019-454e-a908-a8ccb959cd34" providerId="ADAL" clId="{3E476153-0AFA-48A2-8AE3-9A1607BFD221}" dt="2022-12-21T18:19:04.772" v="1452" actId="1038"/>
          <ac:spMkLst>
            <pc:docMk/>
            <pc:sldMk cId="0" sldId="280"/>
            <ac:spMk id="780" creationId="{00000000-0000-0000-0000-000000000000}"/>
          </ac:spMkLst>
        </pc:spChg>
        <pc:spChg chg="mod">
          <ac:chgData name="Andrea Evrard Comas" userId="133e4c92-0019-454e-a908-a8ccb959cd34" providerId="ADAL" clId="{3E476153-0AFA-48A2-8AE3-9A1607BFD221}" dt="2022-12-21T18:18:54.047" v="1428" actId="1035"/>
          <ac:spMkLst>
            <pc:docMk/>
            <pc:sldMk cId="0" sldId="280"/>
            <ac:spMk id="781" creationId="{00000000-0000-0000-0000-000000000000}"/>
          </ac:spMkLst>
        </pc:spChg>
        <pc:spChg chg="del">
          <ac:chgData name="Andrea Evrard Comas" userId="133e4c92-0019-454e-a908-a8ccb959cd34" providerId="ADAL" clId="{3E476153-0AFA-48A2-8AE3-9A1607BFD221}" dt="2022-12-21T18:14:04.111" v="845" actId="478"/>
          <ac:spMkLst>
            <pc:docMk/>
            <pc:sldMk cId="0" sldId="280"/>
            <ac:spMk id="782" creationId="{00000000-0000-0000-0000-000000000000}"/>
          </ac:spMkLst>
        </pc:spChg>
        <pc:spChg chg="mod">
          <ac:chgData name="Andrea Evrard Comas" userId="133e4c92-0019-454e-a908-a8ccb959cd34" providerId="ADAL" clId="{3E476153-0AFA-48A2-8AE3-9A1607BFD221}" dt="2022-12-21T18:18:54.047" v="1428" actId="1035"/>
          <ac:spMkLst>
            <pc:docMk/>
            <pc:sldMk cId="0" sldId="280"/>
            <ac:spMk id="783" creationId="{00000000-0000-0000-0000-000000000000}"/>
          </ac:spMkLst>
        </pc:spChg>
        <pc:spChg chg="mod">
          <ac:chgData name="Andrea Evrard Comas" userId="133e4c92-0019-454e-a908-a8ccb959cd34" providerId="ADAL" clId="{3E476153-0AFA-48A2-8AE3-9A1607BFD221}" dt="2022-12-21T18:18:54.047" v="1428" actId="1035"/>
          <ac:spMkLst>
            <pc:docMk/>
            <pc:sldMk cId="0" sldId="280"/>
            <ac:spMk id="784" creationId="{00000000-0000-0000-0000-000000000000}"/>
          </ac:spMkLst>
        </pc:spChg>
        <pc:graphicFrameChg chg="add mod ord modVis">
          <ac:chgData name="Andrea Evrard Comas" userId="133e4c92-0019-454e-a908-a8ccb959cd34" providerId="ADAL" clId="{3E476153-0AFA-48A2-8AE3-9A1607BFD221}" dt="2022-12-21T18:19:05.284" v="1454"/>
          <ac:graphicFrameMkLst>
            <pc:docMk/>
            <pc:sldMk cId="0" sldId="280"/>
            <ac:graphicFrameMk id="2" creationId="{72EC44B4-8265-4E6A-BAE1-16D457812D3B}"/>
          </ac:graphicFrameMkLst>
        </pc:graphicFrameChg>
        <pc:cxnChg chg="mod">
          <ac:chgData name="Andrea Evrard Comas" userId="133e4c92-0019-454e-a908-a8ccb959cd34" providerId="ADAL" clId="{3E476153-0AFA-48A2-8AE3-9A1607BFD221}" dt="2022-12-21T18:18:54.047" v="1428" actId="1035"/>
          <ac:cxnSpMkLst>
            <pc:docMk/>
            <pc:sldMk cId="0" sldId="280"/>
            <ac:cxnSpMk id="775" creationId="{00000000-0000-0000-0000-000000000000}"/>
          </ac:cxnSpMkLst>
        </pc:cxnChg>
        <pc:cxnChg chg="mod">
          <ac:chgData name="Andrea Evrard Comas" userId="133e4c92-0019-454e-a908-a8ccb959cd34" providerId="ADAL" clId="{3E476153-0AFA-48A2-8AE3-9A1607BFD221}" dt="2022-12-21T18:10:31.050" v="264" actId="14100"/>
          <ac:cxnSpMkLst>
            <pc:docMk/>
            <pc:sldMk cId="0" sldId="280"/>
            <ac:cxnSpMk id="785" creationId="{00000000-0000-0000-0000-000000000000}"/>
          </ac:cxnSpMkLst>
        </pc:cxnChg>
      </pc:sldChg>
      <pc:sldChg chg="del">
        <pc:chgData name="Andrea Evrard Comas" userId="133e4c92-0019-454e-a908-a8ccb959cd34" providerId="ADAL" clId="{3E476153-0AFA-48A2-8AE3-9A1607BFD221}" dt="2022-12-21T17:31:39.812" v="99" actId="47"/>
        <pc:sldMkLst>
          <pc:docMk/>
          <pc:sldMk cId="0" sldId="281"/>
        </pc:sldMkLst>
      </pc:sldChg>
      <pc:sldChg chg="addSp delSp modSp mod modClrScheme chgLayout">
        <pc:chgData name="Andrea Evrard Comas" userId="133e4c92-0019-454e-a908-a8ccb959cd34" providerId="ADAL" clId="{3E476153-0AFA-48A2-8AE3-9A1607BFD221}" dt="2022-12-21T17:33:42.871" v="218"/>
        <pc:sldMkLst>
          <pc:docMk/>
          <pc:sldMk cId="0" sldId="282"/>
        </pc:sldMkLst>
        <pc:spChg chg="add del mod ord">
          <ac:chgData name="Andrea Evrard Comas" userId="133e4c92-0019-454e-a908-a8ccb959cd34" providerId="ADAL" clId="{3E476153-0AFA-48A2-8AE3-9A1607BFD221}" dt="2022-12-21T17:31:51.243" v="118" actId="478"/>
          <ac:spMkLst>
            <pc:docMk/>
            <pc:sldMk cId="0" sldId="282"/>
            <ac:spMk id="2" creationId="{A7D47931-7FC3-48A6-B4E6-F2D7EEBB94A1}"/>
          </ac:spMkLst>
        </pc:spChg>
        <pc:spChg chg="add del mod">
          <ac:chgData name="Andrea Evrard Comas" userId="133e4c92-0019-454e-a908-a8ccb959cd34" providerId="ADAL" clId="{3E476153-0AFA-48A2-8AE3-9A1607BFD221}" dt="2022-12-21T17:31:55.426" v="123" actId="478"/>
          <ac:spMkLst>
            <pc:docMk/>
            <pc:sldMk cId="0" sldId="282"/>
            <ac:spMk id="5" creationId="{C18772E7-3FA2-4C76-ADF2-0FD142A4E820}"/>
          </ac:spMkLst>
        </pc:spChg>
        <pc:spChg chg="add mod ord">
          <ac:chgData name="Andrea Evrard Comas" userId="133e4c92-0019-454e-a908-a8ccb959cd34" providerId="ADAL" clId="{3E476153-0AFA-48A2-8AE3-9A1607BFD221}" dt="2022-12-21T17:33:23.437" v="182"/>
          <ac:spMkLst>
            <pc:docMk/>
            <pc:sldMk cId="0" sldId="282"/>
            <ac:spMk id="6" creationId="{6EEB8977-A6D6-4406-A55F-F88673F4551C}"/>
          </ac:spMkLst>
        </pc:spChg>
        <pc:spChg chg="del mod ord">
          <ac:chgData name="Andrea Evrard Comas" userId="133e4c92-0019-454e-a908-a8ccb959cd34" providerId="ADAL" clId="{3E476153-0AFA-48A2-8AE3-9A1607BFD221}" dt="2022-12-21T17:31:54.060" v="122" actId="478"/>
          <ac:spMkLst>
            <pc:docMk/>
            <pc:sldMk cId="0" sldId="282"/>
            <ac:spMk id="799" creationId="{00000000-0000-0000-0000-000000000000}"/>
          </ac:spMkLst>
        </pc:spChg>
        <pc:spChg chg="mod ord">
          <ac:chgData name="Andrea Evrard Comas" userId="133e4c92-0019-454e-a908-a8ccb959cd34" providerId="ADAL" clId="{3E476153-0AFA-48A2-8AE3-9A1607BFD221}" dt="2022-12-21T17:33:42.374" v="216" actId="207"/>
          <ac:spMkLst>
            <pc:docMk/>
            <pc:sldMk cId="0" sldId="282"/>
            <ac:spMk id="800" creationId="{00000000-0000-0000-0000-000000000000}"/>
          </ac:spMkLst>
        </pc:spChg>
        <pc:spChg chg="del">
          <ac:chgData name="Andrea Evrard Comas" userId="133e4c92-0019-454e-a908-a8ccb959cd34" providerId="ADAL" clId="{3E476153-0AFA-48A2-8AE3-9A1607BFD221}" dt="2022-12-21T17:31:56.785" v="124" actId="478"/>
          <ac:spMkLst>
            <pc:docMk/>
            <pc:sldMk cId="0" sldId="282"/>
            <ac:spMk id="803" creationId="{00000000-0000-0000-0000-000000000000}"/>
          </ac:spMkLst>
        </pc:spChg>
        <pc:spChg chg="del">
          <ac:chgData name="Andrea Evrard Comas" userId="133e4c92-0019-454e-a908-a8ccb959cd34" providerId="ADAL" clId="{3E476153-0AFA-48A2-8AE3-9A1607BFD221}" dt="2022-12-21T17:31:52.770" v="121" actId="478"/>
          <ac:spMkLst>
            <pc:docMk/>
            <pc:sldMk cId="0" sldId="282"/>
            <ac:spMk id="804" creationId="{00000000-0000-0000-0000-000000000000}"/>
          </ac:spMkLst>
        </pc:spChg>
        <pc:grpChg chg="del">
          <ac:chgData name="Andrea Evrard Comas" userId="133e4c92-0019-454e-a908-a8ccb959cd34" providerId="ADAL" clId="{3E476153-0AFA-48A2-8AE3-9A1607BFD221}" dt="2022-12-21T17:31:52.770" v="121" actId="478"/>
          <ac:grpSpMkLst>
            <pc:docMk/>
            <pc:sldMk cId="0" sldId="282"/>
            <ac:grpSpMk id="805" creationId="{00000000-0000-0000-0000-000000000000}"/>
          </ac:grpSpMkLst>
        </pc:grpChg>
        <pc:grpChg chg="del">
          <ac:chgData name="Andrea Evrard Comas" userId="133e4c92-0019-454e-a908-a8ccb959cd34" providerId="ADAL" clId="{3E476153-0AFA-48A2-8AE3-9A1607BFD221}" dt="2022-12-21T17:31:52.770" v="121" actId="478"/>
          <ac:grpSpMkLst>
            <pc:docMk/>
            <pc:sldMk cId="0" sldId="282"/>
            <ac:grpSpMk id="810" creationId="{00000000-0000-0000-0000-000000000000}"/>
          </ac:grpSpMkLst>
        </pc:grpChg>
        <pc:graphicFrameChg chg="add mod ord modVis">
          <ac:chgData name="Andrea Evrard Comas" userId="133e4c92-0019-454e-a908-a8ccb959cd34" providerId="ADAL" clId="{3E476153-0AFA-48A2-8AE3-9A1607BFD221}" dt="2022-12-21T17:33:42.871" v="218"/>
          <ac:graphicFrameMkLst>
            <pc:docMk/>
            <pc:sldMk cId="0" sldId="282"/>
            <ac:graphicFrameMk id="3" creationId="{3C4BA4B5-A6F1-4C09-A089-7E869AB0FB14}"/>
          </ac:graphicFrameMkLst>
        </pc:graphicFrameChg>
        <pc:picChg chg="del">
          <ac:chgData name="Andrea Evrard Comas" userId="133e4c92-0019-454e-a908-a8ccb959cd34" providerId="ADAL" clId="{3E476153-0AFA-48A2-8AE3-9A1607BFD221}" dt="2022-12-21T17:31:47.274" v="117" actId="478"/>
          <ac:picMkLst>
            <pc:docMk/>
            <pc:sldMk cId="0" sldId="282"/>
            <ac:picMk id="802" creationId="{00000000-0000-0000-0000-000000000000}"/>
          </ac:picMkLst>
        </pc:picChg>
        <pc:picChg chg="add mod">
          <ac:chgData name="Andrea Evrard Comas" userId="133e4c92-0019-454e-a908-a8ccb959cd34" providerId="ADAL" clId="{3E476153-0AFA-48A2-8AE3-9A1607BFD221}" dt="2022-12-21T17:33:16.877" v="178" actId="1076"/>
          <ac:picMkLst>
            <pc:docMk/>
            <pc:sldMk cId="0" sldId="282"/>
            <ac:picMk id="16386" creationId="{748AFC4B-2722-41A9-8E0B-645F940FFF6C}"/>
          </ac:picMkLst>
        </pc:picChg>
        <pc:cxnChg chg="del">
          <ac:chgData name="Andrea Evrard Comas" userId="133e4c92-0019-454e-a908-a8ccb959cd34" providerId="ADAL" clId="{3E476153-0AFA-48A2-8AE3-9A1607BFD221}" dt="2022-12-21T17:32:16.591" v="167" actId="478"/>
          <ac:cxnSpMkLst>
            <pc:docMk/>
            <pc:sldMk cId="0" sldId="282"/>
            <ac:cxnSpMk id="801" creationId="{00000000-0000-0000-0000-000000000000}"/>
          </ac:cxnSpMkLst>
        </pc:cxnChg>
      </pc:sldChg>
      <pc:sldChg chg="addSp delSp modSp mod">
        <pc:chgData name="Andrea Evrard Comas" userId="133e4c92-0019-454e-a908-a8ccb959cd34" providerId="ADAL" clId="{3E476153-0AFA-48A2-8AE3-9A1607BFD221}" dt="2022-12-21T17:30:34.029" v="67" actId="1076"/>
        <pc:sldMkLst>
          <pc:docMk/>
          <pc:sldMk cId="3196525615" sldId="283"/>
        </pc:sldMkLst>
        <pc:spChg chg="mod">
          <ac:chgData name="Andrea Evrard Comas" userId="133e4c92-0019-454e-a908-a8ccb959cd34" providerId="ADAL" clId="{3E476153-0AFA-48A2-8AE3-9A1607BFD221}" dt="2022-12-21T17:29:36.504" v="51" actId="1076"/>
          <ac:spMkLst>
            <pc:docMk/>
            <pc:sldMk cId="3196525615" sldId="283"/>
            <ac:spMk id="472" creationId="{00000000-0000-0000-0000-000000000000}"/>
          </ac:spMkLst>
        </pc:spChg>
        <pc:spChg chg="mod">
          <ac:chgData name="Andrea Evrard Comas" userId="133e4c92-0019-454e-a908-a8ccb959cd34" providerId="ADAL" clId="{3E476153-0AFA-48A2-8AE3-9A1607BFD221}" dt="2022-12-21T17:29:43.551" v="60" actId="1076"/>
          <ac:spMkLst>
            <pc:docMk/>
            <pc:sldMk cId="3196525615" sldId="283"/>
            <ac:spMk id="474" creationId="{00000000-0000-0000-0000-000000000000}"/>
          </ac:spMkLst>
        </pc:spChg>
        <pc:graphicFrameChg chg="mod">
          <ac:chgData name="Andrea Evrard Comas" userId="133e4c92-0019-454e-a908-a8ccb959cd34" providerId="ADAL" clId="{3E476153-0AFA-48A2-8AE3-9A1607BFD221}" dt="2022-12-21T17:29:44.054" v="62"/>
          <ac:graphicFrameMkLst>
            <pc:docMk/>
            <pc:sldMk cId="3196525615" sldId="283"/>
            <ac:graphicFrameMk id="2" creationId="{AAAA636B-866C-4947-80A9-37913D74B214}"/>
          </ac:graphicFrameMkLst>
        </pc:graphicFrameChg>
        <pc:picChg chg="del">
          <ac:chgData name="Andrea Evrard Comas" userId="133e4c92-0019-454e-a908-a8ccb959cd34" providerId="ADAL" clId="{3E476153-0AFA-48A2-8AE3-9A1607BFD221}" dt="2022-12-21T17:29:44.599" v="63" actId="478"/>
          <ac:picMkLst>
            <pc:docMk/>
            <pc:sldMk cId="3196525615" sldId="283"/>
            <ac:picMk id="7172" creationId="{BA656D18-3174-4B81-9237-46C8FF51A300}"/>
          </ac:picMkLst>
        </pc:picChg>
        <pc:picChg chg="add mod">
          <ac:chgData name="Andrea Evrard Comas" userId="133e4c92-0019-454e-a908-a8ccb959cd34" providerId="ADAL" clId="{3E476153-0AFA-48A2-8AE3-9A1607BFD221}" dt="2022-12-21T17:30:34.029" v="67" actId="1076"/>
          <ac:picMkLst>
            <pc:docMk/>
            <pc:sldMk cId="3196525615" sldId="283"/>
            <ac:picMk id="13316" creationId="{023044BB-41C2-457E-84A5-9810DA464F8E}"/>
          </ac:picMkLst>
        </pc:picChg>
      </pc:sldChg>
      <pc:sldMasterChg chg="delSldLayout">
        <pc:chgData name="Andrea Evrard Comas" userId="133e4c92-0019-454e-a908-a8ccb959cd34" providerId="ADAL" clId="{3E476153-0AFA-48A2-8AE3-9A1607BFD221}" dt="2022-12-21T17:31:39.812" v="99" actId="47"/>
        <pc:sldMasterMkLst>
          <pc:docMk/>
          <pc:sldMasterMk cId="0" sldId="2147483698"/>
        </pc:sldMasterMkLst>
        <pc:sldLayoutChg chg="del">
          <pc:chgData name="Andrea Evrard Comas" userId="133e4c92-0019-454e-a908-a8ccb959cd34" providerId="ADAL" clId="{3E476153-0AFA-48A2-8AE3-9A1607BFD221}" dt="2022-12-21T17:31:39.812" v="99" actId="47"/>
          <pc:sldLayoutMkLst>
            <pc:docMk/>
            <pc:sldMasterMk cId="0" sldId="2147483698"/>
            <pc:sldLayoutMk cId="0" sldId="2147483655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4" name="Google Shape;294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g6408f92c8c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8" name="Google Shape;588;g6408f92c8c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9" name="Google Shape;469;g63f76a5452_0_12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70" name="Google Shape;470;g63f76a5452_0_12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618730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2" name="Google Shape;772;g6408f92c8c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73" name="Google Shape;773;g6408f92c8c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6" name="Google Shape;796;g6408f92c8c_0_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97" name="Google Shape;797;g6408f92c8c_0_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g63daf6a34a_3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8" name="Google Shape;308;g63daf6a34a_3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g63daf6a34a_3_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5" name="Google Shape;345;g63daf6a34a_3_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g63daf6a34a_3_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1" name="Google Shape;331;g63daf6a34a_3_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g63daf6a34a_3_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" name="Google Shape;390;g63daf6a34a_3_3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9" name="Google Shape;469;g63f76a5452_0_120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70" name="Google Shape;470;g63f76a5452_0_120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3" name="Google Shape;353;g63daf6a34a_3_5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54" name="Google Shape;354;g63daf6a34a_3_5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" name="Google Shape;477;g63f76a5452_0_120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78" name="Google Shape;478;g63f76a5452_0_120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9" name="Google Shape;579;g63f76a5452_0_120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0" name="Google Shape;580;g63f76a5452_0_1209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oMsr" TargetMode="External"/><Relationship Id="rId2" Type="http://schemas.openxmlformats.org/officeDocument/2006/relationships/hyperlink" Target="http://bit.ly/2Tynxth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bit.ly/2TtBDfr" TargetMode="Externa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4987075" y="781525"/>
            <a:ext cx="34371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4987075" y="2834125"/>
            <a:ext cx="2514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hree columns 2">
  <p:cSld name="TITLE_AND_BODY_1_1_3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19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19"/>
          <p:cNvSpPr txBox="1">
            <a:spLocks noGrp="1"/>
          </p:cNvSpPr>
          <p:nvPr>
            <p:ph type="title" idx="2"/>
          </p:nvPr>
        </p:nvSpPr>
        <p:spPr>
          <a:xfrm>
            <a:off x="3561450" y="1280625"/>
            <a:ext cx="4287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85" name="Google Shape;85;p19"/>
          <p:cNvSpPr txBox="1">
            <a:spLocks noGrp="1"/>
          </p:cNvSpPr>
          <p:nvPr>
            <p:ph type="subTitle" idx="1"/>
          </p:nvPr>
        </p:nvSpPr>
        <p:spPr>
          <a:xfrm>
            <a:off x="3561450" y="1612843"/>
            <a:ext cx="4287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86" name="Google Shape;86;p19"/>
          <p:cNvSpPr txBox="1">
            <a:spLocks noGrp="1"/>
          </p:cNvSpPr>
          <p:nvPr>
            <p:ph type="title" idx="3"/>
          </p:nvPr>
        </p:nvSpPr>
        <p:spPr>
          <a:xfrm>
            <a:off x="3561450" y="2405454"/>
            <a:ext cx="4287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87" name="Google Shape;87;p19"/>
          <p:cNvSpPr txBox="1">
            <a:spLocks noGrp="1"/>
          </p:cNvSpPr>
          <p:nvPr>
            <p:ph type="subTitle" idx="4"/>
          </p:nvPr>
        </p:nvSpPr>
        <p:spPr>
          <a:xfrm>
            <a:off x="3561450" y="2737672"/>
            <a:ext cx="4287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88" name="Google Shape;88;p19"/>
          <p:cNvSpPr txBox="1">
            <a:spLocks noGrp="1"/>
          </p:cNvSpPr>
          <p:nvPr>
            <p:ph type="title" idx="5"/>
          </p:nvPr>
        </p:nvSpPr>
        <p:spPr>
          <a:xfrm>
            <a:off x="3561450" y="3530282"/>
            <a:ext cx="4287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89" name="Google Shape;89;p19"/>
          <p:cNvSpPr txBox="1">
            <a:spLocks noGrp="1"/>
          </p:cNvSpPr>
          <p:nvPr>
            <p:ph type="subTitle" idx="6"/>
          </p:nvPr>
        </p:nvSpPr>
        <p:spPr>
          <a:xfrm>
            <a:off x="3561450" y="3862500"/>
            <a:ext cx="4287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hree columns 3">
  <p:cSld name="TITLE_AND_BODY_1_1_3_1">
    <p:bg>
      <p:bgPr>
        <a:solidFill>
          <a:schemeClr val="accent1"/>
        </a:solidFill>
        <a:effectLst/>
      </p:bgPr>
    </p:bg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20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None/>
              <a:defRPr sz="2600">
                <a:solidFill>
                  <a:schemeClr val="l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92" name="Google Shape;92;p20"/>
          <p:cNvSpPr txBox="1">
            <a:spLocks noGrp="1"/>
          </p:cNvSpPr>
          <p:nvPr>
            <p:ph type="title" idx="2"/>
          </p:nvPr>
        </p:nvSpPr>
        <p:spPr>
          <a:xfrm>
            <a:off x="965700" y="2822800"/>
            <a:ext cx="1997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93" name="Google Shape;93;p20"/>
          <p:cNvSpPr txBox="1">
            <a:spLocks noGrp="1"/>
          </p:cNvSpPr>
          <p:nvPr>
            <p:ph type="subTitle" idx="1"/>
          </p:nvPr>
        </p:nvSpPr>
        <p:spPr>
          <a:xfrm>
            <a:off x="965700" y="3155019"/>
            <a:ext cx="19977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94" name="Google Shape;94;p20"/>
          <p:cNvSpPr txBox="1">
            <a:spLocks noGrp="1"/>
          </p:cNvSpPr>
          <p:nvPr>
            <p:ph type="title" idx="3"/>
          </p:nvPr>
        </p:nvSpPr>
        <p:spPr>
          <a:xfrm>
            <a:off x="3573147" y="2822800"/>
            <a:ext cx="1997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95" name="Google Shape;95;p20"/>
          <p:cNvSpPr txBox="1">
            <a:spLocks noGrp="1"/>
          </p:cNvSpPr>
          <p:nvPr>
            <p:ph type="subTitle" idx="4"/>
          </p:nvPr>
        </p:nvSpPr>
        <p:spPr>
          <a:xfrm>
            <a:off x="3573147" y="3155019"/>
            <a:ext cx="19977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96" name="Google Shape;96;p20"/>
          <p:cNvSpPr txBox="1">
            <a:spLocks noGrp="1"/>
          </p:cNvSpPr>
          <p:nvPr>
            <p:ph type="title" idx="5"/>
          </p:nvPr>
        </p:nvSpPr>
        <p:spPr>
          <a:xfrm>
            <a:off x="6180589" y="2822800"/>
            <a:ext cx="1997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97" name="Google Shape;97;p20"/>
          <p:cNvSpPr txBox="1">
            <a:spLocks noGrp="1"/>
          </p:cNvSpPr>
          <p:nvPr>
            <p:ph type="subTitle" idx="6"/>
          </p:nvPr>
        </p:nvSpPr>
        <p:spPr>
          <a:xfrm>
            <a:off x="6180589" y="3155019"/>
            <a:ext cx="19977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  2">
  <p:cSld name="BIG_NUMBER_1_1">
    <p:bg>
      <p:bgPr>
        <a:solidFill>
          <a:schemeClr val="accent1"/>
        </a:solidFill>
        <a:effectLst/>
      </p:bgPr>
    </p:bg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Google Shape;110;p22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None/>
              <a:defRPr sz="26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11" name="Google Shape;111;p22"/>
          <p:cNvSpPr txBox="1">
            <a:spLocks noGrp="1"/>
          </p:cNvSpPr>
          <p:nvPr>
            <p:ph type="title" idx="2" hasCustomPrompt="1"/>
          </p:nvPr>
        </p:nvSpPr>
        <p:spPr>
          <a:xfrm>
            <a:off x="720027" y="1551500"/>
            <a:ext cx="2926200" cy="8583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None/>
              <a:defRPr sz="4700"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9pPr>
          </a:lstStyle>
          <a:p>
            <a:r>
              <a:t>xx%</a:t>
            </a:r>
          </a:p>
        </p:txBody>
      </p:sp>
      <p:sp>
        <p:nvSpPr>
          <p:cNvPr id="112" name="Google Shape;112;p22"/>
          <p:cNvSpPr txBox="1">
            <a:spLocks noGrp="1"/>
          </p:cNvSpPr>
          <p:nvPr>
            <p:ph type="title" idx="3" hasCustomPrompt="1"/>
          </p:nvPr>
        </p:nvSpPr>
        <p:spPr>
          <a:xfrm>
            <a:off x="2781000" y="2703125"/>
            <a:ext cx="2926200" cy="8583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None/>
              <a:defRPr sz="4700"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9pPr>
          </a:lstStyle>
          <a:p>
            <a:r>
              <a:t>xx%</a:t>
            </a:r>
          </a:p>
        </p:txBody>
      </p:sp>
      <p:sp>
        <p:nvSpPr>
          <p:cNvPr id="113" name="Google Shape;113;p22"/>
          <p:cNvSpPr txBox="1">
            <a:spLocks noGrp="1"/>
          </p:cNvSpPr>
          <p:nvPr>
            <p:ph type="ctrTitle" idx="4"/>
          </p:nvPr>
        </p:nvSpPr>
        <p:spPr>
          <a:xfrm>
            <a:off x="3231365" y="4069650"/>
            <a:ext cx="2103000" cy="428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None/>
              <a:defRPr sz="2000"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9pPr>
          </a:lstStyle>
          <a:p>
            <a:endParaRPr/>
          </a:p>
        </p:txBody>
      </p:sp>
      <p:sp>
        <p:nvSpPr>
          <p:cNvPr id="114" name="Google Shape;114;p22"/>
          <p:cNvSpPr txBox="1">
            <a:spLocks noGrp="1"/>
          </p:cNvSpPr>
          <p:nvPr>
            <p:ph type="title" idx="5" hasCustomPrompt="1"/>
          </p:nvPr>
        </p:nvSpPr>
        <p:spPr>
          <a:xfrm>
            <a:off x="719975" y="3854700"/>
            <a:ext cx="2928000" cy="8583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None/>
              <a:defRPr sz="4700"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Righteous"/>
              <a:buNone/>
              <a:defRPr sz="4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9pPr>
          </a:lstStyle>
          <a:p>
            <a:r>
              <a:t>xx%</a:t>
            </a:r>
          </a:p>
        </p:txBody>
      </p:sp>
      <p:sp>
        <p:nvSpPr>
          <p:cNvPr id="115" name="Google Shape;115;p22"/>
          <p:cNvSpPr txBox="1">
            <a:spLocks noGrp="1"/>
          </p:cNvSpPr>
          <p:nvPr>
            <p:ph type="ctrTitle" idx="6"/>
          </p:nvPr>
        </p:nvSpPr>
        <p:spPr>
          <a:xfrm>
            <a:off x="3231365" y="1760600"/>
            <a:ext cx="2103000" cy="428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None/>
              <a:defRPr sz="2000"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9pPr>
          </a:lstStyle>
          <a:p>
            <a:endParaRPr/>
          </a:p>
        </p:txBody>
      </p:sp>
      <p:sp>
        <p:nvSpPr>
          <p:cNvPr id="116" name="Google Shape;116;p22"/>
          <p:cNvSpPr txBox="1">
            <a:spLocks noGrp="1"/>
          </p:cNvSpPr>
          <p:nvPr>
            <p:ph type="ctrTitle" idx="7"/>
          </p:nvPr>
        </p:nvSpPr>
        <p:spPr>
          <a:xfrm>
            <a:off x="5294376" y="2938750"/>
            <a:ext cx="2620200" cy="428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None/>
              <a:defRPr sz="2000"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700"/>
              <a:buFont typeface="Righteous"/>
              <a:buNone/>
              <a:defRPr sz="1700">
                <a:solidFill>
                  <a:schemeClr val="lt2"/>
                </a:solidFill>
                <a:latin typeface="Righteous"/>
                <a:ea typeface="Righteous"/>
                <a:cs typeface="Righteous"/>
                <a:sym typeface="Righteous"/>
              </a:defRPr>
            </a:lvl9pPr>
          </a:lstStyle>
          <a:p>
            <a:endParaRPr/>
          </a:p>
        </p:txBody>
      </p:sp>
      <p:sp>
        <p:nvSpPr>
          <p:cNvPr id="117" name="Google Shape;117;p22"/>
          <p:cNvSpPr/>
          <p:nvPr/>
        </p:nvSpPr>
        <p:spPr>
          <a:xfrm>
            <a:off x="454800" y="1531975"/>
            <a:ext cx="6042900" cy="924300"/>
          </a:xfrm>
          <a:prstGeom prst="rect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" name="Google Shape;118;p22"/>
          <p:cNvSpPr/>
          <p:nvPr/>
        </p:nvSpPr>
        <p:spPr>
          <a:xfrm>
            <a:off x="2520863" y="2670100"/>
            <a:ext cx="6042900" cy="924300"/>
          </a:xfrm>
          <a:prstGeom prst="rect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9" name="Google Shape;119;p22"/>
          <p:cNvSpPr/>
          <p:nvPr/>
        </p:nvSpPr>
        <p:spPr>
          <a:xfrm>
            <a:off x="468675" y="3808225"/>
            <a:ext cx="6042900" cy="924300"/>
          </a:xfrm>
          <a:prstGeom prst="rect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  3">
  <p:cSld name="BIG_NUMBER_1_1_1">
    <p:bg>
      <p:bgPr>
        <a:solidFill>
          <a:schemeClr val="accent1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Google Shape;121;p23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None/>
              <a:defRPr sz="26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22" name="Google Shape;122;p23"/>
          <p:cNvSpPr txBox="1">
            <a:spLocks noGrp="1"/>
          </p:cNvSpPr>
          <p:nvPr>
            <p:ph type="title" idx="2" hasCustomPrompt="1"/>
          </p:nvPr>
        </p:nvSpPr>
        <p:spPr>
          <a:xfrm>
            <a:off x="1843050" y="1465775"/>
            <a:ext cx="5457900" cy="8583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None/>
              <a:defRPr sz="47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Righteous"/>
              <a:buNone/>
              <a:defRPr sz="4700">
                <a:solidFill>
                  <a:schemeClr val="accent3"/>
                </a:solidFill>
                <a:latin typeface="Righteous"/>
                <a:ea typeface="Righteous"/>
                <a:cs typeface="Righteous"/>
                <a:sym typeface="Righteous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Righteous"/>
              <a:buNone/>
              <a:defRPr sz="4700">
                <a:solidFill>
                  <a:schemeClr val="accent3"/>
                </a:solidFill>
                <a:latin typeface="Righteous"/>
                <a:ea typeface="Righteous"/>
                <a:cs typeface="Righteous"/>
                <a:sym typeface="Righteous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Righteous"/>
              <a:buNone/>
              <a:defRPr sz="4700">
                <a:solidFill>
                  <a:schemeClr val="accent3"/>
                </a:solidFill>
                <a:latin typeface="Righteous"/>
                <a:ea typeface="Righteous"/>
                <a:cs typeface="Righteous"/>
                <a:sym typeface="Righteous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Righteous"/>
              <a:buNone/>
              <a:defRPr sz="4700">
                <a:solidFill>
                  <a:schemeClr val="accent3"/>
                </a:solidFill>
                <a:latin typeface="Righteous"/>
                <a:ea typeface="Righteous"/>
                <a:cs typeface="Righteous"/>
                <a:sym typeface="Righteous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Righteous"/>
              <a:buNone/>
              <a:defRPr sz="4700">
                <a:solidFill>
                  <a:schemeClr val="accent3"/>
                </a:solidFill>
                <a:latin typeface="Righteous"/>
                <a:ea typeface="Righteous"/>
                <a:cs typeface="Righteous"/>
                <a:sym typeface="Righteous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Righteous"/>
              <a:buNone/>
              <a:defRPr sz="4700">
                <a:solidFill>
                  <a:schemeClr val="accent3"/>
                </a:solidFill>
                <a:latin typeface="Righteous"/>
                <a:ea typeface="Righteous"/>
                <a:cs typeface="Righteous"/>
                <a:sym typeface="Righteous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Righteous"/>
              <a:buNone/>
              <a:defRPr sz="4700">
                <a:solidFill>
                  <a:schemeClr val="accent3"/>
                </a:solidFill>
                <a:latin typeface="Righteous"/>
                <a:ea typeface="Righteous"/>
                <a:cs typeface="Righteous"/>
                <a:sym typeface="Righteous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Righteous"/>
              <a:buNone/>
              <a:defRPr sz="4700">
                <a:solidFill>
                  <a:schemeClr val="accent3"/>
                </a:solidFill>
                <a:latin typeface="Righteous"/>
                <a:ea typeface="Righteous"/>
                <a:cs typeface="Righteous"/>
                <a:sym typeface="Righteous"/>
              </a:defRPr>
            </a:lvl9pPr>
          </a:lstStyle>
          <a:p>
            <a:r>
              <a:t>xx%</a:t>
            </a:r>
          </a:p>
        </p:txBody>
      </p:sp>
      <p:sp>
        <p:nvSpPr>
          <p:cNvPr id="123" name="Google Shape;123;p23"/>
          <p:cNvSpPr txBox="1">
            <a:spLocks noGrp="1"/>
          </p:cNvSpPr>
          <p:nvPr>
            <p:ph type="title" idx="3" hasCustomPrompt="1"/>
          </p:nvPr>
        </p:nvSpPr>
        <p:spPr>
          <a:xfrm>
            <a:off x="1843050" y="2922200"/>
            <a:ext cx="5457900" cy="8583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None/>
              <a:defRPr sz="47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Righteous"/>
              <a:buNone/>
              <a:defRPr sz="4700">
                <a:solidFill>
                  <a:schemeClr val="accent3"/>
                </a:solidFill>
                <a:latin typeface="Righteous"/>
                <a:ea typeface="Righteous"/>
                <a:cs typeface="Righteous"/>
                <a:sym typeface="Righteous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Righteous"/>
              <a:buNone/>
              <a:defRPr sz="4700">
                <a:solidFill>
                  <a:schemeClr val="accent3"/>
                </a:solidFill>
                <a:latin typeface="Righteous"/>
                <a:ea typeface="Righteous"/>
                <a:cs typeface="Righteous"/>
                <a:sym typeface="Righteous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Righteous"/>
              <a:buNone/>
              <a:defRPr sz="4700">
                <a:solidFill>
                  <a:schemeClr val="accent3"/>
                </a:solidFill>
                <a:latin typeface="Righteous"/>
                <a:ea typeface="Righteous"/>
                <a:cs typeface="Righteous"/>
                <a:sym typeface="Righteous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Righteous"/>
              <a:buNone/>
              <a:defRPr sz="4700">
                <a:solidFill>
                  <a:schemeClr val="accent3"/>
                </a:solidFill>
                <a:latin typeface="Righteous"/>
                <a:ea typeface="Righteous"/>
                <a:cs typeface="Righteous"/>
                <a:sym typeface="Righteous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Righteous"/>
              <a:buNone/>
              <a:defRPr sz="4700">
                <a:solidFill>
                  <a:schemeClr val="accent3"/>
                </a:solidFill>
                <a:latin typeface="Righteous"/>
                <a:ea typeface="Righteous"/>
                <a:cs typeface="Righteous"/>
                <a:sym typeface="Righteous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Righteous"/>
              <a:buNone/>
              <a:defRPr sz="4700">
                <a:solidFill>
                  <a:schemeClr val="accent3"/>
                </a:solidFill>
                <a:latin typeface="Righteous"/>
                <a:ea typeface="Righteous"/>
                <a:cs typeface="Righteous"/>
                <a:sym typeface="Righteous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Righteous"/>
              <a:buNone/>
              <a:defRPr sz="4700">
                <a:solidFill>
                  <a:schemeClr val="accent3"/>
                </a:solidFill>
                <a:latin typeface="Righteous"/>
                <a:ea typeface="Righteous"/>
                <a:cs typeface="Righteous"/>
                <a:sym typeface="Righteous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700"/>
              <a:buFont typeface="Righteous"/>
              <a:buNone/>
              <a:defRPr sz="4700">
                <a:solidFill>
                  <a:schemeClr val="accent3"/>
                </a:solidFill>
                <a:latin typeface="Righteous"/>
                <a:ea typeface="Righteous"/>
                <a:cs typeface="Righteous"/>
                <a:sym typeface="Righteous"/>
              </a:defRPr>
            </a:lvl9pPr>
          </a:lstStyle>
          <a:p>
            <a:r>
              <a:t>xx%</a:t>
            </a:r>
          </a:p>
        </p:txBody>
      </p:sp>
      <p:sp>
        <p:nvSpPr>
          <p:cNvPr id="124" name="Google Shape;124;p23"/>
          <p:cNvSpPr txBox="1">
            <a:spLocks noGrp="1"/>
          </p:cNvSpPr>
          <p:nvPr>
            <p:ph type="ctrTitle" idx="4"/>
          </p:nvPr>
        </p:nvSpPr>
        <p:spPr>
          <a:xfrm>
            <a:off x="2128500" y="2324075"/>
            <a:ext cx="4887000" cy="428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 Medium"/>
              <a:buNone/>
              <a:defRPr sz="1400" b="0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 Medium"/>
              <a:buNone/>
              <a:defRPr sz="1400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 Medium"/>
              <a:buNone/>
              <a:defRPr sz="1400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 Medium"/>
              <a:buNone/>
              <a:defRPr sz="1400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 Medium"/>
              <a:buNone/>
              <a:defRPr sz="1400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 Medium"/>
              <a:buNone/>
              <a:defRPr sz="1400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 Medium"/>
              <a:buNone/>
              <a:defRPr sz="1400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 Medium"/>
              <a:buNone/>
              <a:defRPr sz="1400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 Medium"/>
              <a:buNone/>
              <a:defRPr sz="1400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endParaRPr/>
          </a:p>
        </p:txBody>
      </p:sp>
      <p:sp>
        <p:nvSpPr>
          <p:cNvPr id="125" name="Google Shape;125;p23"/>
          <p:cNvSpPr txBox="1">
            <a:spLocks noGrp="1"/>
          </p:cNvSpPr>
          <p:nvPr>
            <p:ph type="ctrTitle" idx="5"/>
          </p:nvPr>
        </p:nvSpPr>
        <p:spPr>
          <a:xfrm>
            <a:off x="2128500" y="3780500"/>
            <a:ext cx="4887000" cy="428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 Medium"/>
              <a:buNone/>
              <a:defRPr sz="1400" b="0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 Medium"/>
              <a:buNone/>
              <a:defRPr sz="1400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 Medium"/>
              <a:buNone/>
              <a:defRPr sz="1400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 Medium"/>
              <a:buNone/>
              <a:defRPr sz="1400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 Medium"/>
              <a:buNone/>
              <a:defRPr sz="1400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 Medium"/>
              <a:buNone/>
              <a:defRPr sz="1400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 Medium"/>
              <a:buNone/>
              <a:defRPr sz="1400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 Medium"/>
              <a:buNone/>
              <a:defRPr sz="1400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 Medium"/>
              <a:buNone/>
              <a:defRPr sz="1400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  3 1">
  <p:cSld name="BIG_NUMBER_1_1_1_1">
    <p:bg>
      <p:bgPr>
        <a:solidFill>
          <a:schemeClr val="accent1"/>
        </a:solidFill>
        <a:effectLst/>
      </p:bgPr>
    </p:bg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24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None/>
              <a:defRPr sz="26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28" name="Google Shape;128;p24"/>
          <p:cNvSpPr txBox="1">
            <a:spLocks noGrp="1"/>
          </p:cNvSpPr>
          <p:nvPr>
            <p:ph type="title" idx="2" hasCustomPrompt="1"/>
          </p:nvPr>
        </p:nvSpPr>
        <p:spPr>
          <a:xfrm>
            <a:off x="3675900" y="3199300"/>
            <a:ext cx="1792200" cy="617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29" name="Google Shape;129;p24"/>
          <p:cNvSpPr txBox="1">
            <a:spLocks noGrp="1"/>
          </p:cNvSpPr>
          <p:nvPr>
            <p:ph type="title" idx="3"/>
          </p:nvPr>
        </p:nvSpPr>
        <p:spPr>
          <a:xfrm>
            <a:off x="3358650" y="3703900"/>
            <a:ext cx="2426700" cy="34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130" name="Google Shape;130;p24"/>
          <p:cNvSpPr txBox="1">
            <a:spLocks noGrp="1"/>
          </p:cNvSpPr>
          <p:nvPr>
            <p:ph type="subTitle" idx="1"/>
          </p:nvPr>
        </p:nvSpPr>
        <p:spPr>
          <a:xfrm>
            <a:off x="3642600" y="3979650"/>
            <a:ext cx="1858800" cy="34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31" name="Google Shape;131;p24"/>
          <p:cNvSpPr txBox="1">
            <a:spLocks noGrp="1"/>
          </p:cNvSpPr>
          <p:nvPr>
            <p:ph type="title" idx="4" hasCustomPrompt="1"/>
          </p:nvPr>
        </p:nvSpPr>
        <p:spPr>
          <a:xfrm>
            <a:off x="6162775" y="3199300"/>
            <a:ext cx="1792200" cy="617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32" name="Google Shape;132;p24"/>
          <p:cNvSpPr txBox="1">
            <a:spLocks noGrp="1"/>
          </p:cNvSpPr>
          <p:nvPr>
            <p:ph type="title" idx="5"/>
          </p:nvPr>
        </p:nvSpPr>
        <p:spPr>
          <a:xfrm>
            <a:off x="5845525" y="3703900"/>
            <a:ext cx="2426700" cy="34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133" name="Google Shape;133;p24"/>
          <p:cNvSpPr txBox="1">
            <a:spLocks noGrp="1"/>
          </p:cNvSpPr>
          <p:nvPr>
            <p:ph type="subTitle" idx="6"/>
          </p:nvPr>
        </p:nvSpPr>
        <p:spPr>
          <a:xfrm>
            <a:off x="6130825" y="3979650"/>
            <a:ext cx="1856100" cy="34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34" name="Google Shape;134;p24"/>
          <p:cNvSpPr txBox="1">
            <a:spLocks noGrp="1"/>
          </p:cNvSpPr>
          <p:nvPr>
            <p:ph type="title" idx="7" hasCustomPrompt="1"/>
          </p:nvPr>
        </p:nvSpPr>
        <p:spPr>
          <a:xfrm>
            <a:off x="1189025" y="3199300"/>
            <a:ext cx="1792200" cy="617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35" name="Google Shape;135;p24"/>
          <p:cNvSpPr txBox="1">
            <a:spLocks noGrp="1"/>
          </p:cNvSpPr>
          <p:nvPr>
            <p:ph type="title" idx="8"/>
          </p:nvPr>
        </p:nvSpPr>
        <p:spPr>
          <a:xfrm>
            <a:off x="871775" y="3703900"/>
            <a:ext cx="2426700" cy="34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136" name="Google Shape;136;p24"/>
          <p:cNvSpPr txBox="1">
            <a:spLocks noGrp="1"/>
          </p:cNvSpPr>
          <p:nvPr>
            <p:ph type="subTitle" idx="9"/>
          </p:nvPr>
        </p:nvSpPr>
        <p:spPr>
          <a:xfrm>
            <a:off x="1155725" y="3979650"/>
            <a:ext cx="1858800" cy="34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2">
  <p:cSld name="SECTION_TITLE_AND_DESCRIPTION_1_1"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4C208BE-0CF2-46C6-A328-EAA59EBBF1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8222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4C208BE-0CF2-46C6-A328-EAA59EBBF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348;p58">
            <a:extLst>
              <a:ext uri="{FF2B5EF4-FFF2-40B4-BE49-F238E27FC236}">
                <a16:creationId xmlns:a16="http://schemas.microsoft.com/office/drawing/2014/main" id="{D5CF1A56-EBBC-4F67-8267-0D7C591568C4}"/>
              </a:ext>
            </a:extLst>
          </p:cNvPr>
          <p:cNvSpPr/>
          <p:nvPr userDrawn="1"/>
        </p:nvSpPr>
        <p:spPr>
          <a:xfrm>
            <a:off x="0" y="0"/>
            <a:ext cx="5978236" cy="51435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9" name="Google Shape;139;p25"/>
          <p:cNvSpPr txBox="1">
            <a:spLocks noGrp="1"/>
          </p:cNvSpPr>
          <p:nvPr>
            <p:ph type="title"/>
          </p:nvPr>
        </p:nvSpPr>
        <p:spPr>
          <a:xfrm>
            <a:off x="774850" y="1698650"/>
            <a:ext cx="4129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1pPr>
            <a:lvl2pPr lvl="1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2pPr>
            <a:lvl3pPr lvl="2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3pPr>
            <a:lvl4pPr lvl="3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4pPr>
            <a:lvl5pPr lvl="4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5pPr>
            <a:lvl6pPr lvl="5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6pPr>
            <a:lvl7pPr lvl="6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7pPr>
            <a:lvl8pPr lvl="7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8pPr>
            <a:lvl9pPr lvl="8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40" name="Google Shape;140;p25"/>
          <p:cNvSpPr txBox="1">
            <a:spLocks noGrp="1"/>
          </p:cNvSpPr>
          <p:nvPr>
            <p:ph type="subTitle" idx="1"/>
          </p:nvPr>
        </p:nvSpPr>
        <p:spPr>
          <a:xfrm>
            <a:off x="1656850" y="3108204"/>
            <a:ext cx="3247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41" name="Google Shape;141;p25"/>
          <p:cNvSpPr txBox="1">
            <a:spLocks noGrp="1"/>
          </p:cNvSpPr>
          <p:nvPr>
            <p:ph type="title" idx="2" hasCustomPrompt="1"/>
          </p:nvPr>
        </p:nvSpPr>
        <p:spPr>
          <a:xfrm>
            <a:off x="3149350" y="1367754"/>
            <a:ext cx="1754700" cy="604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None/>
              <a:defRPr sz="12000">
                <a:solidFill>
                  <a:schemeClr val="l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None/>
              <a:defRPr sz="12000">
                <a:solidFill>
                  <a:schemeClr val="l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None/>
              <a:defRPr sz="12000">
                <a:solidFill>
                  <a:schemeClr val="l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None/>
              <a:defRPr sz="12000">
                <a:solidFill>
                  <a:schemeClr val="l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None/>
              <a:defRPr sz="12000">
                <a:solidFill>
                  <a:schemeClr val="l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None/>
              <a:defRPr sz="12000">
                <a:solidFill>
                  <a:schemeClr val="l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None/>
              <a:defRPr sz="12000">
                <a:solidFill>
                  <a:schemeClr val="l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None/>
              <a:defRPr sz="12000">
                <a:solidFill>
                  <a:schemeClr val="lt1"/>
                </a:solidFill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four columns">
  <p:cSld name="TITLE_AND_BODY_1_2"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26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26"/>
          <p:cNvSpPr txBox="1">
            <a:spLocks noGrp="1"/>
          </p:cNvSpPr>
          <p:nvPr>
            <p:ph type="title" idx="2"/>
          </p:nvPr>
        </p:nvSpPr>
        <p:spPr>
          <a:xfrm>
            <a:off x="848400" y="3013500"/>
            <a:ext cx="1695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145" name="Google Shape;145;p26"/>
          <p:cNvSpPr txBox="1">
            <a:spLocks noGrp="1"/>
          </p:cNvSpPr>
          <p:nvPr>
            <p:ph type="subTitle" idx="1"/>
          </p:nvPr>
        </p:nvSpPr>
        <p:spPr>
          <a:xfrm>
            <a:off x="848400" y="3365450"/>
            <a:ext cx="16959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146" name="Google Shape;146;p26"/>
          <p:cNvSpPr txBox="1">
            <a:spLocks noGrp="1"/>
          </p:cNvSpPr>
          <p:nvPr>
            <p:ph type="title" idx="3"/>
          </p:nvPr>
        </p:nvSpPr>
        <p:spPr>
          <a:xfrm>
            <a:off x="2765499" y="3013500"/>
            <a:ext cx="1695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147" name="Google Shape;147;p26"/>
          <p:cNvSpPr txBox="1">
            <a:spLocks noGrp="1"/>
          </p:cNvSpPr>
          <p:nvPr>
            <p:ph type="subTitle" idx="4"/>
          </p:nvPr>
        </p:nvSpPr>
        <p:spPr>
          <a:xfrm>
            <a:off x="2765499" y="3365450"/>
            <a:ext cx="16959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148" name="Google Shape;148;p26"/>
          <p:cNvSpPr txBox="1">
            <a:spLocks noGrp="1"/>
          </p:cNvSpPr>
          <p:nvPr>
            <p:ph type="title" idx="5"/>
          </p:nvPr>
        </p:nvSpPr>
        <p:spPr>
          <a:xfrm>
            <a:off x="4682598" y="3013500"/>
            <a:ext cx="1695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149" name="Google Shape;149;p26"/>
          <p:cNvSpPr txBox="1">
            <a:spLocks noGrp="1"/>
          </p:cNvSpPr>
          <p:nvPr>
            <p:ph type="subTitle" idx="6"/>
          </p:nvPr>
        </p:nvSpPr>
        <p:spPr>
          <a:xfrm>
            <a:off x="4682598" y="3365450"/>
            <a:ext cx="16959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150" name="Google Shape;150;p26"/>
          <p:cNvSpPr txBox="1">
            <a:spLocks noGrp="1"/>
          </p:cNvSpPr>
          <p:nvPr>
            <p:ph type="title" idx="7"/>
          </p:nvPr>
        </p:nvSpPr>
        <p:spPr>
          <a:xfrm>
            <a:off x="6599697" y="3013500"/>
            <a:ext cx="1695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151" name="Google Shape;151;p26"/>
          <p:cNvSpPr txBox="1">
            <a:spLocks noGrp="1"/>
          </p:cNvSpPr>
          <p:nvPr>
            <p:ph type="subTitle" idx="8"/>
          </p:nvPr>
        </p:nvSpPr>
        <p:spPr>
          <a:xfrm>
            <a:off x="6599697" y="3365450"/>
            <a:ext cx="16959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four columns 2">
  <p:cSld name="TITLE_AND_BODY_1_2_1">
    <p:bg>
      <p:bgPr>
        <a:solidFill>
          <a:schemeClr val="accent1"/>
        </a:solidFill>
        <a:effectLst/>
      </p:bgPr>
    </p:bg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Google Shape;153;p27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600"/>
              <a:buNone/>
              <a:defRPr sz="2600">
                <a:solidFill>
                  <a:schemeClr val="l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>
                <a:solidFill>
                  <a:schemeClr val="lt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>
                <a:solidFill>
                  <a:schemeClr val="lt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>
                <a:solidFill>
                  <a:schemeClr val="lt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>
                <a:solidFill>
                  <a:schemeClr val="lt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>
                <a:solidFill>
                  <a:schemeClr val="lt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>
                <a:solidFill>
                  <a:schemeClr val="lt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>
                <a:solidFill>
                  <a:schemeClr val="lt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154" name="Google Shape;154;p27"/>
          <p:cNvSpPr txBox="1">
            <a:spLocks noGrp="1"/>
          </p:cNvSpPr>
          <p:nvPr>
            <p:ph type="title" idx="2"/>
          </p:nvPr>
        </p:nvSpPr>
        <p:spPr>
          <a:xfrm>
            <a:off x="848400" y="3165900"/>
            <a:ext cx="1695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155" name="Google Shape;155;p27"/>
          <p:cNvSpPr txBox="1">
            <a:spLocks noGrp="1"/>
          </p:cNvSpPr>
          <p:nvPr>
            <p:ph type="subTitle" idx="1"/>
          </p:nvPr>
        </p:nvSpPr>
        <p:spPr>
          <a:xfrm>
            <a:off x="848400" y="3517850"/>
            <a:ext cx="16959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156" name="Google Shape;156;p27"/>
          <p:cNvSpPr txBox="1">
            <a:spLocks noGrp="1"/>
          </p:cNvSpPr>
          <p:nvPr>
            <p:ph type="title" idx="3"/>
          </p:nvPr>
        </p:nvSpPr>
        <p:spPr>
          <a:xfrm>
            <a:off x="2765499" y="1565700"/>
            <a:ext cx="1695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157" name="Google Shape;157;p27"/>
          <p:cNvSpPr txBox="1">
            <a:spLocks noGrp="1"/>
          </p:cNvSpPr>
          <p:nvPr>
            <p:ph type="subTitle" idx="4"/>
          </p:nvPr>
        </p:nvSpPr>
        <p:spPr>
          <a:xfrm>
            <a:off x="2765499" y="1917650"/>
            <a:ext cx="16959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158" name="Google Shape;158;p27"/>
          <p:cNvSpPr txBox="1">
            <a:spLocks noGrp="1"/>
          </p:cNvSpPr>
          <p:nvPr>
            <p:ph type="title" idx="5"/>
          </p:nvPr>
        </p:nvSpPr>
        <p:spPr>
          <a:xfrm>
            <a:off x="4682598" y="3165900"/>
            <a:ext cx="1695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159" name="Google Shape;159;p27"/>
          <p:cNvSpPr txBox="1">
            <a:spLocks noGrp="1"/>
          </p:cNvSpPr>
          <p:nvPr>
            <p:ph type="subTitle" idx="6"/>
          </p:nvPr>
        </p:nvSpPr>
        <p:spPr>
          <a:xfrm>
            <a:off x="4682598" y="3517850"/>
            <a:ext cx="16959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160" name="Google Shape;160;p27"/>
          <p:cNvSpPr txBox="1">
            <a:spLocks noGrp="1"/>
          </p:cNvSpPr>
          <p:nvPr>
            <p:ph type="title" idx="7"/>
          </p:nvPr>
        </p:nvSpPr>
        <p:spPr>
          <a:xfrm>
            <a:off x="6599697" y="1565700"/>
            <a:ext cx="1695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161" name="Google Shape;161;p27"/>
          <p:cNvSpPr txBox="1">
            <a:spLocks noGrp="1"/>
          </p:cNvSpPr>
          <p:nvPr>
            <p:ph type="subTitle" idx="8"/>
          </p:nvPr>
        </p:nvSpPr>
        <p:spPr>
          <a:xfrm>
            <a:off x="6599697" y="1917650"/>
            <a:ext cx="16959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3">
  <p:cSld name="SECTION_TITLE_AND_DESCRIPTION_1_2"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28"/>
          <p:cNvSpPr txBox="1">
            <a:spLocks noGrp="1"/>
          </p:cNvSpPr>
          <p:nvPr>
            <p:ph type="title"/>
          </p:nvPr>
        </p:nvSpPr>
        <p:spPr>
          <a:xfrm>
            <a:off x="895163" y="1690704"/>
            <a:ext cx="3247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3600">
                <a:solidFill>
                  <a:schemeClr val="accent1"/>
                </a:solidFill>
              </a:defRPr>
            </a:lvl2pPr>
            <a:lvl3pPr lvl="2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3600">
                <a:solidFill>
                  <a:schemeClr val="accent1"/>
                </a:solidFill>
              </a:defRPr>
            </a:lvl3pPr>
            <a:lvl4pPr lvl="3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3600">
                <a:solidFill>
                  <a:schemeClr val="accent1"/>
                </a:solidFill>
              </a:defRPr>
            </a:lvl4pPr>
            <a:lvl5pPr lvl="4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3600">
                <a:solidFill>
                  <a:schemeClr val="accent1"/>
                </a:solidFill>
              </a:defRPr>
            </a:lvl5pPr>
            <a:lvl6pPr lvl="5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3600">
                <a:solidFill>
                  <a:schemeClr val="accent1"/>
                </a:solidFill>
              </a:defRPr>
            </a:lvl6pPr>
            <a:lvl7pPr lvl="6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3600">
                <a:solidFill>
                  <a:schemeClr val="accent1"/>
                </a:solidFill>
              </a:defRPr>
            </a:lvl7pPr>
            <a:lvl8pPr lvl="7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3600">
                <a:solidFill>
                  <a:schemeClr val="accent1"/>
                </a:solidFill>
              </a:defRPr>
            </a:lvl8pPr>
            <a:lvl9pPr lvl="8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36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164" name="Google Shape;164;p28"/>
          <p:cNvSpPr txBox="1">
            <a:spLocks noGrp="1"/>
          </p:cNvSpPr>
          <p:nvPr>
            <p:ph type="subTitle" idx="1"/>
          </p:nvPr>
        </p:nvSpPr>
        <p:spPr>
          <a:xfrm>
            <a:off x="895163" y="3108204"/>
            <a:ext cx="3247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>
                <a:solidFill>
                  <a:schemeClr val="accen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>
                <a:solidFill>
                  <a:schemeClr val="accen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>
                <a:solidFill>
                  <a:schemeClr val="accen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>
                <a:solidFill>
                  <a:schemeClr val="accen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>
                <a:solidFill>
                  <a:schemeClr val="accen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>
                <a:solidFill>
                  <a:schemeClr val="accen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>
                <a:solidFill>
                  <a:schemeClr val="accen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>
                <a:solidFill>
                  <a:schemeClr val="accen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165" name="Google Shape;165;p28"/>
          <p:cNvSpPr txBox="1">
            <a:spLocks noGrp="1"/>
          </p:cNvSpPr>
          <p:nvPr>
            <p:ph type="title" idx="2" hasCustomPrompt="1"/>
          </p:nvPr>
        </p:nvSpPr>
        <p:spPr>
          <a:xfrm>
            <a:off x="1641413" y="1367754"/>
            <a:ext cx="1754700" cy="604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20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20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20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20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20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20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20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2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6" name="Google Shape;348;p58">
            <a:extLst>
              <a:ext uri="{FF2B5EF4-FFF2-40B4-BE49-F238E27FC236}">
                <a16:creationId xmlns:a16="http://schemas.microsoft.com/office/drawing/2014/main" id="{A3A2D963-9664-423D-94D2-52716829BA55}"/>
              </a:ext>
            </a:extLst>
          </p:cNvPr>
          <p:cNvSpPr/>
          <p:nvPr userDrawn="1"/>
        </p:nvSpPr>
        <p:spPr>
          <a:xfrm>
            <a:off x="6490854" y="0"/>
            <a:ext cx="2653145" cy="51435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4">
  <p:cSld name="SECTION_TITLE_AND_DESCRIPTION_1_2_1">
    <p:bg>
      <p:bgPr>
        <a:solidFill>
          <a:schemeClr val="accent1"/>
        </a:solidFill>
        <a:effectLst/>
      </p:bgPr>
    </p:bg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29"/>
          <p:cNvSpPr/>
          <p:nvPr/>
        </p:nvSpPr>
        <p:spPr>
          <a:xfrm>
            <a:off x="2473875" y="724050"/>
            <a:ext cx="5744400" cy="3695400"/>
          </a:xfrm>
          <a:prstGeom prst="rect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9" name="Google Shape;169;p29"/>
          <p:cNvSpPr txBox="1">
            <a:spLocks noGrp="1"/>
          </p:cNvSpPr>
          <p:nvPr>
            <p:ph type="title"/>
          </p:nvPr>
        </p:nvSpPr>
        <p:spPr>
          <a:xfrm>
            <a:off x="3528004" y="1153700"/>
            <a:ext cx="4309200" cy="1482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500"/>
              <a:buNone/>
              <a:defRPr sz="3500">
                <a:solidFill>
                  <a:schemeClr val="lt2"/>
                </a:solidFill>
              </a:defRPr>
            </a:lvl1pPr>
            <a:lvl2pPr lvl="1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500"/>
              <a:buNone/>
              <a:defRPr sz="3500">
                <a:solidFill>
                  <a:schemeClr val="lt2"/>
                </a:solidFill>
              </a:defRPr>
            </a:lvl2pPr>
            <a:lvl3pPr lvl="2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500"/>
              <a:buNone/>
              <a:defRPr sz="3500">
                <a:solidFill>
                  <a:schemeClr val="lt2"/>
                </a:solidFill>
              </a:defRPr>
            </a:lvl3pPr>
            <a:lvl4pPr lvl="3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500"/>
              <a:buNone/>
              <a:defRPr sz="3500">
                <a:solidFill>
                  <a:schemeClr val="lt2"/>
                </a:solidFill>
              </a:defRPr>
            </a:lvl4pPr>
            <a:lvl5pPr lvl="4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500"/>
              <a:buNone/>
              <a:defRPr sz="3500">
                <a:solidFill>
                  <a:schemeClr val="lt2"/>
                </a:solidFill>
              </a:defRPr>
            </a:lvl5pPr>
            <a:lvl6pPr lvl="5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500"/>
              <a:buNone/>
              <a:defRPr sz="3500">
                <a:solidFill>
                  <a:schemeClr val="lt2"/>
                </a:solidFill>
              </a:defRPr>
            </a:lvl6pPr>
            <a:lvl7pPr lvl="6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500"/>
              <a:buNone/>
              <a:defRPr sz="3500">
                <a:solidFill>
                  <a:schemeClr val="lt2"/>
                </a:solidFill>
              </a:defRPr>
            </a:lvl7pPr>
            <a:lvl8pPr lvl="7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500"/>
              <a:buNone/>
              <a:defRPr sz="3500">
                <a:solidFill>
                  <a:schemeClr val="lt2"/>
                </a:solidFill>
              </a:defRPr>
            </a:lvl8pPr>
            <a:lvl9pPr lvl="8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500"/>
              <a:buNone/>
              <a:defRPr sz="35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170" name="Google Shape;170;p29"/>
          <p:cNvSpPr txBox="1">
            <a:spLocks noGrp="1"/>
          </p:cNvSpPr>
          <p:nvPr>
            <p:ph type="subTitle" idx="1"/>
          </p:nvPr>
        </p:nvSpPr>
        <p:spPr>
          <a:xfrm>
            <a:off x="4589988" y="2418804"/>
            <a:ext cx="3247200" cy="123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171" name="Google Shape;171;p29"/>
          <p:cNvSpPr txBox="1">
            <a:spLocks noGrp="1"/>
          </p:cNvSpPr>
          <p:nvPr>
            <p:ph type="title" idx="2" hasCustomPrompt="1"/>
          </p:nvPr>
        </p:nvSpPr>
        <p:spPr>
          <a:xfrm>
            <a:off x="925725" y="1468350"/>
            <a:ext cx="2902200" cy="2206800"/>
          </a:xfrm>
          <a:prstGeom prst="rect">
            <a:avLst/>
          </a:prstGeom>
          <a:solidFill>
            <a:schemeClr val="accent1"/>
          </a:solidFill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3400"/>
              <a:buNone/>
              <a:defRPr sz="134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5000"/>
              <a:buNone/>
              <a:defRPr sz="15000">
                <a:solidFill>
                  <a:schemeClr val="lt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5000"/>
              <a:buNone/>
              <a:defRPr sz="15000">
                <a:solidFill>
                  <a:schemeClr val="lt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5000"/>
              <a:buNone/>
              <a:defRPr sz="15000">
                <a:solidFill>
                  <a:schemeClr val="lt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5000"/>
              <a:buNone/>
              <a:defRPr sz="15000">
                <a:solidFill>
                  <a:schemeClr val="lt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5000"/>
              <a:buNone/>
              <a:defRPr sz="15000">
                <a:solidFill>
                  <a:schemeClr val="lt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5000"/>
              <a:buNone/>
              <a:defRPr sz="15000">
                <a:solidFill>
                  <a:schemeClr val="lt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5000"/>
              <a:buNone/>
              <a:defRPr sz="15000">
                <a:solidFill>
                  <a:schemeClr val="lt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5000"/>
              <a:buNone/>
              <a:defRPr sz="15000">
                <a:solidFill>
                  <a:schemeClr val="lt2"/>
                </a:solidFill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title"/>
          </p:nvPr>
        </p:nvSpPr>
        <p:spPr>
          <a:xfrm>
            <a:off x="895163" y="1690704"/>
            <a:ext cx="3247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3600">
                <a:solidFill>
                  <a:schemeClr val="accent1"/>
                </a:solidFill>
              </a:defRPr>
            </a:lvl2pPr>
            <a:lvl3pPr lvl="2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3600">
                <a:solidFill>
                  <a:schemeClr val="accent1"/>
                </a:solidFill>
              </a:defRPr>
            </a:lvl3pPr>
            <a:lvl4pPr lvl="3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3600">
                <a:solidFill>
                  <a:schemeClr val="accent1"/>
                </a:solidFill>
              </a:defRPr>
            </a:lvl4pPr>
            <a:lvl5pPr lvl="4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3600">
                <a:solidFill>
                  <a:schemeClr val="accent1"/>
                </a:solidFill>
              </a:defRPr>
            </a:lvl5pPr>
            <a:lvl6pPr lvl="5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3600">
                <a:solidFill>
                  <a:schemeClr val="accent1"/>
                </a:solidFill>
              </a:defRPr>
            </a:lvl6pPr>
            <a:lvl7pPr lvl="6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3600">
                <a:solidFill>
                  <a:schemeClr val="accent1"/>
                </a:solidFill>
              </a:defRPr>
            </a:lvl7pPr>
            <a:lvl8pPr lvl="7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3600">
                <a:solidFill>
                  <a:schemeClr val="accent1"/>
                </a:solidFill>
              </a:defRPr>
            </a:lvl8pPr>
            <a:lvl9pPr lvl="8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36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13" name="Google Shape;13;p3"/>
          <p:cNvSpPr txBox="1">
            <a:spLocks noGrp="1"/>
          </p:cNvSpPr>
          <p:nvPr>
            <p:ph type="subTitle" idx="1"/>
          </p:nvPr>
        </p:nvSpPr>
        <p:spPr>
          <a:xfrm>
            <a:off x="895163" y="3108204"/>
            <a:ext cx="3247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>
                <a:solidFill>
                  <a:schemeClr val="accen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>
                <a:solidFill>
                  <a:schemeClr val="accen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>
                <a:solidFill>
                  <a:schemeClr val="accen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>
                <a:solidFill>
                  <a:schemeClr val="accen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>
                <a:solidFill>
                  <a:schemeClr val="accen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>
                <a:solidFill>
                  <a:schemeClr val="accen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>
                <a:solidFill>
                  <a:schemeClr val="accen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>
                <a:solidFill>
                  <a:schemeClr val="accen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title" idx="2" hasCustomPrompt="1"/>
          </p:nvPr>
        </p:nvSpPr>
        <p:spPr>
          <a:xfrm>
            <a:off x="1641413" y="1367754"/>
            <a:ext cx="1754700" cy="604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20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20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20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20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20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20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20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0"/>
              <a:buNone/>
              <a:defRPr sz="12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six columns  1">
  <p:cSld name="TITLE_AND_BODY_1_1_2_1">
    <p:bg>
      <p:bgPr>
        <a:solidFill>
          <a:schemeClr val="accent1"/>
        </a:solidFill>
        <a:effectLst/>
      </p:bgPr>
    </p:bg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p31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600"/>
              <a:buNone/>
              <a:defRPr sz="2600"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>
                <a:solidFill>
                  <a:schemeClr val="lt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>
                <a:solidFill>
                  <a:schemeClr val="lt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>
                <a:solidFill>
                  <a:schemeClr val="lt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>
                <a:solidFill>
                  <a:schemeClr val="lt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>
                <a:solidFill>
                  <a:schemeClr val="lt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>
                <a:solidFill>
                  <a:schemeClr val="lt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>
                <a:solidFill>
                  <a:schemeClr val="lt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188" name="Google Shape;188;p31"/>
          <p:cNvSpPr txBox="1">
            <a:spLocks noGrp="1"/>
          </p:cNvSpPr>
          <p:nvPr>
            <p:ph type="title" idx="2"/>
          </p:nvPr>
        </p:nvSpPr>
        <p:spPr>
          <a:xfrm>
            <a:off x="974700" y="3453858"/>
            <a:ext cx="1875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189" name="Google Shape;189;p31"/>
          <p:cNvSpPr txBox="1">
            <a:spLocks noGrp="1"/>
          </p:cNvSpPr>
          <p:nvPr>
            <p:ph type="subTitle" idx="1"/>
          </p:nvPr>
        </p:nvSpPr>
        <p:spPr>
          <a:xfrm>
            <a:off x="974700" y="3786075"/>
            <a:ext cx="1875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190" name="Google Shape;190;p31"/>
          <p:cNvSpPr txBox="1">
            <a:spLocks noGrp="1"/>
          </p:cNvSpPr>
          <p:nvPr>
            <p:ph type="title" idx="3"/>
          </p:nvPr>
        </p:nvSpPr>
        <p:spPr>
          <a:xfrm>
            <a:off x="3634350" y="3453858"/>
            <a:ext cx="1875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191" name="Google Shape;191;p31"/>
          <p:cNvSpPr txBox="1">
            <a:spLocks noGrp="1"/>
          </p:cNvSpPr>
          <p:nvPr>
            <p:ph type="subTitle" idx="4"/>
          </p:nvPr>
        </p:nvSpPr>
        <p:spPr>
          <a:xfrm>
            <a:off x="3634350" y="3786075"/>
            <a:ext cx="1875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192" name="Google Shape;192;p31"/>
          <p:cNvSpPr txBox="1">
            <a:spLocks noGrp="1"/>
          </p:cNvSpPr>
          <p:nvPr>
            <p:ph type="title" idx="5"/>
          </p:nvPr>
        </p:nvSpPr>
        <p:spPr>
          <a:xfrm>
            <a:off x="6293997" y="3453858"/>
            <a:ext cx="1875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193" name="Google Shape;193;p31"/>
          <p:cNvSpPr txBox="1">
            <a:spLocks noGrp="1"/>
          </p:cNvSpPr>
          <p:nvPr>
            <p:ph type="subTitle" idx="6"/>
          </p:nvPr>
        </p:nvSpPr>
        <p:spPr>
          <a:xfrm>
            <a:off x="6293997" y="3786075"/>
            <a:ext cx="1875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194" name="Google Shape;194;p31"/>
          <p:cNvSpPr txBox="1">
            <a:spLocks noGrp="1"/>
          </p:cNvSpPr>
          <p:nvPr>
            <p:ph type="title" idx="7"/>
          </p:nvPr>
        </p:nvSpPr>
        <p:spPr>
          <a:xfrm>
            <a:off x="974700" y="1778458"/>
            <a:ext cx="1875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195" name="Google Shape;195;p31"/>
          <p:cNvSpPr txBox="1">
            <a:spLocks noGrp="1"/>
          </p:cNvSpPr>
          <p:nvPr>
            <p:ph type="subTitle" idx="8"/>
          </p:nvPr>
        </p:nvSpPr>
        <p:spPr>
          <a:xfrm>
            <a:off x="974700" y="2110675"/>
            <a:ext cx="1875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196" name="Google Shape;196;p31"/>
          <p:cNvSpPr txBox="1">
            <a:spLocks noGrp="1"/>
          </p:cNvSpPr>
          <p:nvPr>
            <p:ph type="title" idx="9"/>
          </p:nvPr>
        </p:nvSpPr>
        <p:spPr>
          <a:xfrm>
            <a:off x="3634350" y="1778458"/>
            <a:ext cx="1875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subTitle" idx="13"/>
          </p:nvPr>
        </p:nvSpPr>
        <p:spPr>
          <a:xfrm>
            <a:off x="3634350" y="2110675"/>
            <a:ext cx="1875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198" name="Google Shape;198;p31"/>
          <p:cNvSpPr txBox="1">
            <a:spLocks noGrp="1"/>
          </p:cNvSpPr>
          <p:nvPr>
            <p:ph type="title" idx="14"/>
          </p:nvPr>
        </p:nvSpPr>
        <p:spPr>
          <a:xfrm>
            <a:off x="6293997" y="1778458"/>
            <a:ext cx="1875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199" name="Google Shape;199;p31"/>
          <p:cNvSpPr txBox="1">
            <a:spLocks noGrp="1"/>
          </p:cNvSpPr>
          <p:nvPr>
            <p:ph type="subTitle" idx="15"/>
          </p:nvPr>
        </p:nvSpPr>
        <p:spPr>
          <a:xfrm>
            <a:off x="6293997" y="2110675"/>
            <a:ext cx="1875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wo columns 2">
  <p:cSld name="TITLE_AND_BODY_1_1_1">
    <p:bg>
      <p:bgPr>
        <a:solidFill>
          <a:schemeClr val="accent1"/>
        </a:solidFill>
        <a:effectLst/>
      </p:bgPr>
    </p:bg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32"/>
          <p:cNvSpPr txBox="1">
            <a:spLocks noGrp="1"/>
          </p:cNvSpPr>
          <p:nvPr>
            <p:ph type="title"/>
          </p:nvPr>
        </p:nvSpPr>
        <p:spPr>
          <a:xfrm>
            <a:off x="1454388" y="1517150"/>
            <a:ext cx="2493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600"/>
              <a:buNone/>
              <a:defRPr sz="26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600"/>
              <a:buNone/>
              <a:defRPr sz="2600">
                <a:solidFill>
                  <a:schemeClr val="accent3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600"/>
              <a:buNone/>
              <a:defRPr sz="2600">
                <a:solidFill>
                  <a:schemeClr val="accent3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600"/>
              <a:buNone/>
              <a:defRPr sz="2600">
                <a:solidFill>
                  <a:schemeClr val="accent3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600"/>
              <a:buNone/>
              <a:defRPr sz="2600">
                <a:solidFill>
                  <a:schemeClr val="accent3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600"/>
              <a:buNone/>
              <a:defRPr sz="2600">
                <a:solidFill>
                  <a:schemeClr val="accent3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600"/>
              <a:buNone/>
              <a:defRPr sz="2600">
                <a:solidFill>
                  <a:schemeClr val="accent3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600"/>
              <a:buNone/>
              <a:defRPr sz="2600">
                <a:solidFill>
                  <a:schemeClr val="accent3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600"/>
              <a:buNone/>
              <a:defRPr sz="26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202" name="Google Shape;202;p32"/>
          <p:cNvSpPr txBox="1">
            <a:spLocks noGrp="1"/>
          </p:cNvSpPr>
          <p:nvPr>
            <p:ph type="subTitle" idx="1"/>
          </p:nvPr>
        </p:nvSpPr>
        <p:spPr>
          <a:xfrm>
            <a:off x="1454388" y="2306572"/>
            <a:ext cx="2493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203" name="Google Shape;203;p32"/>
          <p:cNvSpPr txBox="1">
            <a:spLocks noGrp="1"/>
          </p:cNvSpPr>
          <p:nvPr>
            <p:ph type="title" idx="2"/>
          </p:nvPr>
        </p:nvSpPr>
        <p:spPr>
          <a:xfrm>
            <a:off x="5196323" y="1517150"/>
            <a:ext cx="2493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600"/>
              <a:buNone/>
              <a:defRPr sz="2600">
                <a:solidFill>
                  <a:schemeClr val="accent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600"/>
              <a:buNone/>
              <a:defRPr sz="2600">
                <a:solidFill>
                  <a:schemeClr val="accent3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600"/>
              <a:buNone/>
              <a:defRPr sz="2600">
                <a:solidFill>
                  <a:schemeClr val="accent3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600"/>
              <a:buNone/>
              <a:defRPr sz="2600">
                <a:solidFill>
                  <a:schemeClr val="accent3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600"/>
              <a:buNone/>
              <a:defRPr sz="2600">
                <a:solidFill>
                  <a:schemeClr val="accent3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600"/>
              <a:buNone/>
              <a:defRPr sz="2600">
                <a:solidFill>
                  <a:schemeClr val="accent3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600"/>
              <a:buNone/>
              <a:defRPr sz="2600">
                <a:solidFill>
                  <a:schemeClr val="accent3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600"/>
              <a:buNone/>
              <a:defRPr sz="2600">
                <a:solidFill>
                  <a:schemeClr val="accent3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600"/>
              <a:buNone/>
              <a:defRPr sz="26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204" name="Google Shape;204;p32"/>
          <p:cNvSpPr txBox="1">
            <a:spLocks noGrp="1"/>
          </p:cNvSpPr>
          <p:nvPr>
            <p:ph type="subTitle" idx="3"/>
          </p:nvPr>
        </p:nvSpPr>
        <p:spPr>
          <a:xfrm>
            <a:off x="5196323" y="2306572"/>
            <a:ext cx="2493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wo columns  3">
  <p:cSld name="TITLE_AND_BODY_1_1_1_3"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Google Shape;206;p33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07" name="Google Shape;207;p33"/>
          <p:cNvSpPr txBox="1">
            <a:spLocks noGrp="1"/>
          </p:cNvSpPr>
          <p:nvPr>
            <p:ph type="title" idx="2"/>
          </p:nvPr>
        </p:nvSpPr>
        <p:spPr>
          <a:xfrm>
            <a:off x="1454388" y="2583950"/>
            <a:ext cx="2493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208" name="Google Shape;208;p33"/>
          <p:cNvSpPr txBox="1">
            <a:spLocks noGrp="1"/>
          </p:cNvSpPr>
          <p:nvPr>
            <p:ph type="subTitle" idx="1"/>
          </p:nvPr>
        </p:nvSpPr>
        <p:spPr>
          <a:xfrm>
            <a:off x="1454388" y="2916172"/>
            <a:ext cx="2493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209" name="Google Shape;209;p33"/>
          <p:cNvSpPr txBox="1">
            <a:spLocks noGrp="1"/>
          </p:cNvSpPr>
          <p:nvPr>
            <p:ph type="title" idx="3"/>
          </p:nvPr>
        </p:nvSpPr>
        <p:spPr>
          <a:xfrm>
            <a:off x="5196323" y="2583950"/>
            <a:ext cx="2493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210" name="Google Shape;210;p33"/>
          <p:cNvSpPr txBox="1">
            <a:spLocks noGrp="1"/>
          </p:cNvSpPr>
          <p:nvPr>
            <p:ph type="subTitle" idx="4"/>
          </p:nvPr>
        </p:nvSpPr>
        <p:spPr>
          <a:xfrm>
            <a:off x="5196323" y="2916172"/>
            <a:ext cx="2493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211" name="Google Shape;211;p33"/>
          <p:cNvSpPr txBox="1">
            <a:spLocks noGrp="1"/>
          </p:cNvSpPr>
          <p:nvPr>
            <p:ph type="title" idx="5" hasCustomPrompt="1"/>
          </p:nvPr>
        </p:nvSpPr>
        <p:spPr>
          <a:xfrm>
            <a:off x="1853100" y="1868675"/>
            <a:ext cx="1695900" cy="50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r>
              <a:t>xx%</a:t>
            </a:r>
          </a:p>
        </p:txBody>
      </p:sp>
      <p:sp>
        <p:nvSpPr>
          <p:cNvPr id="212" name="Google Shape;212;p33"/>
          <p:cNvSpPr txBox="1">
            <a:spLocks noGrp="1"/>
          </p:cNvSpPr>
          <p:nvPr>
            <p:ph type="title" idx="6" hasCustomPrompt="1"/>
          </p:nvPr>
        </p:nvSpPr>
        <p:spPr>
          <a:xfrm>
            <a:off x="5595025" y="1868675"/>
            <a:ext cx="1695900" cy="50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wo columns  4">
  <p:cSld name="TITLE_AND_BODY_1_1_1_3_1">
    <p:bg>
      <p:bgPr>
        <a:solidFill>
          <a:schemeClr val="accent1"/>
        </a:solidFill>
        <a:effectLst/>
      </p:bgPr>
    </p:bg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4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None/>
              <a:defRPr sz="26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15" name="Google Shape;215;p34"/>
          <p:cNvSpPr txBox="1">
            <a:spLocks noGrp="1"/>
          </p:cNvSpPr>
          <p:nvPr>
            <p:ph type="title" idx="2"/>
          </p:nvPr>
        </p:nvSpPr>
        <p:spPr>
          <a:xfrm>
            <a:off x="1143875" y="1440950"/>
            <a:ext cx="2741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216" name="Google Shape;216;p34"/>
          <p:cNvSpPr txBox="1">
            <a:spLocks noGrp="1"/>
          </p:cNvSpPr>
          <p:nvPr>
            <p:ph type="subTitle" idx="1"/>
          </p:nvPr>
        </p:nvSpPr>
        <p:spPr>
          <a:xfrm>
            <a:off x="1143875" y="2077974"/>
            <a:ext cx="27417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17" name="Google Shape;217;p34"/>
          <p:cNvSpPr txBox="1">
            <a:spLocks noGrp="1"/>
          </p:cNvSpPr>
          <p:nvPr>
            <p:ph type="title" idx="3"/>
          </p:nvPr>
        </p:nvSpPr>
        <p:spPr>
          <a:xfrm>
            <a:off x="5029827" y="1440950"/>
            <a:ext cx="27417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218" name="Google Shape;218;p34"/>
          <p:cNvSpPr txBox="1">
            <a:spLocks noGrp="1"/>
          </p:cNvSpPr>
          <p:nvPr>
            <p:ph type="subTitle" idx="4"/>
          </p:nvPr>
        </p:nvSpPr>
        <p:spPr>
          <a:xfrm>
            <a:off x="5029827" y="2077974"/>
            <a:ext cx="27417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wo columns  5">
  <p:cSld name="TITLE_AND_BODY_1_1_1_3_1_1">
    <p:bg>
      <p:bgPr>
        <a:solidFill>
          <a:schemeClr val="accent1"/>
        </a:solidFill>
        <a:effectLst/>
      </p:bgPr>
    </p:bg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5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None/>
              <a:defRPr sz="26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21" name="Google Shape;221;p35"/>
          <p:cNvSpPr txBox="1">
            <a:spLocks noGrp="1"/>
          </p:cNvSpPr>
          <p:nvPr>
            <p:ph type="title" idx="2"/>
          </p:nvPr>
        </p:nvSpPr>
        <p:spPr>
          <a:xfrm>
            <a:off x="1157850" y="1821950"/>
            <a:ext cx="28461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222" name="Google Shape;222;p35"/>
          <p:cNvSpPr txBox="1">
            <a:spLocks noGrp="1"/>
          </p:cNvSpPr>
          <p:nvPr>
            <p:ph type="subTitle" idx="1"/>
          </p:nvPr>
        </p:nvSpPr>
        <p:spPr>
          <a:xfrm>
            <a:off x="1157850" y="2458974"/>
            <a:ext cx="28461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23" name="Google Shape;223;p35"/>
          <p:cNvSpPr txBox="1">
            <a:spLocks noGrp="1"/>
          </p:cNvSpPr>
          <p:nvPr>
            <p:ph type="title" idx="3"/>
          </p:nvPr>
        </p:nvSpPr>
        <p:spPr>
          <a:xfrm>
            <a:off x="5139475" y="1821950"/>
            <a:ext cx="28461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None/>
              <a:defRPr sz="1400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224" name="Google Shape;224;p35"/>
          <p:cNvSpPr txBox="1">
            <a:spLocks noGrp="1"/>
          </p:cNvSpPr>
          <p:nvPr>
            <p:ph type="subTitle" idx="4"/>
          </p:nvPr>
        </p:nvSpPr>
        <p:spPr>
          <a:xfrm>
            <a:off x="5139475" y="2458974"/>
            <a:ext cx="28461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exts 2">
  <p:cSld name="TITLE_AND_BODY_1_1_1_2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36"/>
          <p:cNvSpPr txBox="1">
            <a:spLocks noGrp="1"/>
          </p:cNvSpPr>
          <p:nvPr>
            <p:ph type="title"/>
          </p:nvPr>
        </p:nvSpPr>
        <p:spPr>
          <a:xfrm>
            <a:off x="4314825" y="459775"/>
            <a:ext cx="401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7" name="Google Shape;227;p36"/>
          <p:cNvSpPr txBox="1">
            <a:spLocks noGrp="1"/>
          </p:cNvSpPr>
          <p:nvPr>
            <p:ph type="subTitle" idx="1"/>
          </p:nvPr>
        </p:nvSpPr>
        <p:spPr>
          <a:xfrm>
            <a:off x="5724900" y="1230247"/>
            <a:ext cx="2493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228" name="Google Shape;228;p36"/>
          <p:cNvSpPr txBox="1">
            <a:spLocks noGrp="1"/>
          </p:cNvSpPr>
          <p:nvPr>
            <p:ph type="subTitle" idx="2"/>
          </p:nvPr>
        </p:nvSpPr>
        <p:spPr>
          <a:xfrm>
            <a:off x="5724900" y="2068372"/>
            <a:ext cx="2493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229" name="Google Shape;229;p36"/>
          <p:cNvSpPr txBox="1">
            <a:spLocks noGrp="1"/>
          </p:cNvSpPr>
          <p:nvPr>
            <p:ph type="subTitle" idx="3"/>
          </p:nvPr>
        </p:nvSpPr>
        <p:spPr>
          <a:xfrm>
            <a:off x="5724900" y="2906497"/>
            <a:ext cx="2493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230" name="Google Shape;230;p36"/>
          <p:cNvSpPr txBox="1">
            <a:spLocks noGrp="1"/>
          </p:cNvSpPr>
          <p:nvPr>
            <p:ph type="subTitle" idx="4"/>
          </p:nvPr>
        </p:nvSpPr>
        <p:spPr>
          <a:xfrm>
            <a:off x="5724900" y="3744622"/>
            <a:ext cx="2493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exts 3">
  <p:cSld name="TITLE_AND_BODY_1_1_1_2_1"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37"/>
          <p:cNvSpPr txBox="1">
            <a:spLocks noGrp="1"/>
          </p:cNvSpPr>
          <p:nvPr>
            <p:ph type="title"/>
          </p:nvPr>
        </p:nvSpPr>
        <p:spPr>
          <a:xfrm>
            <a:off x="4989025" y="459775"/>
            <a:ext cx="3336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3" name="Google Shape;233;p37"/>
          <p:cNvSpPr txBox="1">
            <a:spLocks noGrp="1"/>
          </p:cNvSpPr>
          <p:nvPr>
            <p:ph type="subTitle" idx="1"/>
          </p:nvPr>
        </p:nvSpPr>
        <p:spPr>
          <a:xfrm>
            <a:off x="5098075" y="1916050"/>
            <a:ext cx="31200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exts 4">
  <p:cSld name="TITLE_AND_BODY_1_1_1_2_1_2">
    <p:bg>
      <p:bgPr>
        <a:solidFill>
          <a:schemeClr val="accent1"/>
        </a:solidFill>
        <a:effectLst/>
      </p:bgPr>
    </p:bg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Google Shape;235;p38"/>
          <p:cNvSpPr txBox="1">
            <a:spLocks noGrp="1"/>
          </p:cNvSpPr>
          <p:nvPr>
            <p:ph type="title"/>
          </p:nvPr>
        </p:nvSpPr>
        <p:spPr>
          <a:xfrm>
            <a:off x="1102825" y="1297975"/>
            <a:ext cx="3336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30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3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36" name="Google Shape;236;p38"/>
          <p:cNvSpPr txBox="1">
            <a:spLocks noGrp="1"/>
          </p:cNvSpPr>
          <p:nvPr>
            <p:ph type="subTitle" idx="1"/>
          </p:nvPr>
        </p:nvSpPr>
        <p:spPr>
          <a:xfrm>
            <a:off x="1102825" y="1992250"/>
            <a:ext cx="34479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>
                <a:solidFill>
                  <a:schemeClr val="lt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>
                <a:solidFill>
                  <a:schemeClr val="lt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>
                <a:solidFill>
                  <a:schemeClr val="lt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>
                <a:solidFill>
                  <a:schemeClr val="lt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>
                <a:solidFill>
                  <a:schemeClr val="lt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>
                <a:solidFill>
                  <a:schemeClr val="lt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>
                <a:solidFill>
                  <a:schemeClr val="lt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exts 4">
  <p:cSld name="TITLE_AND_BODY_1_1_1_2_1_1"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p39"/>
          <p:cNvSpPr txBox="1">
            <a:spLocks noGrp="1"/>
          </p:cNvSpPr>
          <p:nvPr>
            <p:ph type="title"/>
          </p:nvPr>
        </p:nvSpPr>
        <p:spPr>
          <a:xfrm>
            <a:off x="950425" y="459775"/>
            <a:ext cx="3336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9" name="Google Shape;239;p39"/>
          <p:cNvSpPr txBox="1">
            <a:spLocks noGrp="1"/>
          </p:cNvSpPr>
          <p:nvPr>
            <p:ph type="subTitle" idx="1"/>
          </p:nvPr>
        </p:nvSpPr>
        <p:spPr>
          <a:xfrm>
            <a:off x="950425" y="1916050"/>
            <a:ext cx="31200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 and credits">
  <p:cSld name="SECTION_TITLE_AND_DESCRIPTION_2"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p40"/>
          <p:cNvSpPr txBox="1">
            <a:spLocks noGrp="1"/>
          </p:cNvSpPr>
          <p:nvPr>
            <p:ph type="subTitle" idx="1"/>
          </p:nvPr>
        </p:nvSpPr>
        <p:spPr>
          <a:xfrm>
            <a:off x="818250" y="1106038"/>
            <a:ext cx="34926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242" name="Google Shape;242;p40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35394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43" name="Google Shape;243;p40"/>
          <p:cNvSpPr txBox="1"/>
          <p:nvPr/>
        </p:nvSpPr>
        <p:spPr>
          <a:xfrm>
            <a:off x="818250" y="3303950"/>
            <a:ext cx="3062400" cy="101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" sz="900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rPr>
              <a:t>CREDITS: This presentation template was created by </a:t>
            </a:r>
            <a:r>
              <a:rPr lang="en" sz="900">
                <a:solidFill>
                  <a:schemeClr val="accent1"/>
                </a:solidFill>
                <a:uFill>
                  <a:noFill/>
                </a:uFill>
                <a:latin typeface="Montserrat"/>
                <a:ea typeface="Montserrat"/>
                <a:cs typeface="Montserrat"/>
                <a:sym typeface="Montserra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900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rPr>
              <a:t>, including icons by </a:t>
            </a:r>
            <a:r>
              <a:rPr lang="en" sz="900">
                <a:solidFill>
                  <a:schemeClr val="accent1"/>
                </a:solidFill>
                <a:uFill>
                  <a:noFill/>
                </a:uFill>
                <a:latin typeface="Montserrat"/>
                <a:ea typeface="Montserrat"/>
                <a:cs typeface="Montserrat"/>
                <a:sym typeface="Montserra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900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rPr>
              <a:t>, and infographics &amp; images by </a:t>
            </a:r>
            <a:r>
              <a:rPr lang="en" sz="900">
                <a:solidFill>
                  <a:schemeClr val="accent1"/>
                </a:solidFill>
                <a:uFill>
                  <a:noFill/>
                </a:uFill>
                <a:latin typeface="Montserrat"/>
                <a:ea typeface="Montserrat"/>
                <a:cs typeface="Montserrat"/>
                <a:sym typeface="Montserra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r>
              <a:rPr lang="en" sz="900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rPr>
              <a:t>. </a:t>
            </a:r>
            <a:endParaRPr sz="900">
              <a:solidFill>
                <a:schemeClr val="accent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endParaRPr sz="900">
              <a:solidFill>
                <a:schemeClr val="accent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6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 2">
  <p:cSld name="CUSTOM_1"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Google Shape;249;p42"/>
          <p:cNvSpPr/>
          <p:nvPr/>
        </p:nvSpPr>
        <p:spPr>
          <a:xfrm>
            <a:off x="4826725" y="1591250"/>
            <a:ext cx="1031100" cy="1031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0" name="Google Shape;250;p42"/>
          <p:cNvSpPr/>
          <p:nvPr/>
        </p:nvSpPr>
        <p:spPr>
          <a:xfrm>
            <a:off x="4826725" y="3284600"/>
            <a:ext cx="1031100" cy="1031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1" name="Google Shape;251;p42"/>
          <p:cNvSpPr/>
          <p:nvPr/>
        </p:nvSpPr>
        <p:spPr>
          <a:xfrm>
            <a:off x="1057275" y="1591250"/>
            <a:ext cx="1031100" cy="1031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2" name="Google Shape;252;p42"/>
          <p:cNvSpPr/>
          <p:nvPr/>
        </p:nvSpPr>
        <p:spPr>
          <a:xfrm>
            <a:off x="1057275" y="3284600"/>
            <a:ext cx="1031100" cy="1031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3" name="Google Shape;253;p42"/>
          <p:cNvSpPr txBox="1">
            <a:spLocks noGrp="1"/>
          </p:cNvSpPr>
          <p:nvPr>
            <p:ph type="subTitle" idx="1"/>
          </p:nvPr>
        </p:nvSpPr>
        <p:spPr>
          <a:xfrm>
            <a:off x="2088370" y="2082350"/>
            <a:ext cx="2103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254" name="Google Shape;254;p42"/>
          <p:cNvSpPr txBox="1">
            <a:spLocks noGrp="1"/>
          </p:cNvSpPr>
          <p:nvPr>
            <p:ph type="title" hasCustomPrompt="1"/>
          </p:nvPr>
        </p:nvSpPr>
        <p:spPr>
          <a:xfrm>
            <a:off x="1057275" y="1625150"/>
            <a:ext cx="1031100" cy="9972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None/>
              <a:defRPr sz="4700">
                <a:solidFill>
                  <a:schemeClr val="l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r>
              <a:t>xx%</a:t>
            </a:r>
          </a:p>
        </p:txBody>
      </p:sp>
      <p:sp>
        <p:nvSpPr>
          <p:cNvPr id="255" name="Google Shape;255;p42"/>
          <p:cNvSpPr txBox="1">
            <a:spLocks noGrp="1"/>
          </p:cNvSpPr>
          <p:nvPr>
            <p:ph type="subTitle" idx="2"/>
          </p:nvPr>
        </p:nvSpPr>
        <p:spPr>
          <a:xfrm>
            <a:off x="5857826" y="2082350"/>
            <a:ext cx="2103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256" name="Google Shape;256;p42"/>
          <p:cNvSpPr txBox="1">
            <a:spLocks noGrp="1"/>
          </p:cNvSpPr>
          <p:nvPr>
            <p:ph type="title" idx="3" hasCustomPrompt="1"/>
          </p:nvPr>
        </p:nvSpPr>
        <p:spPr>
          <a:xfrm>
            <a:off x="4826725" y="1625150"/>
            <a:ext cx="1031100" cy="9972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None/>
              <a:defRPr sz="4700">
                <a:solidFill>
                  <a:schemeClr val="l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r>
              <a:t>xx%</a:t>
            </a:r>
          </a:p>
        </p:txBody>
      </p:sp>
      <p:sp>
        <p:nvSpPr>
          <p:cNvPr id="257" name="Google Shape;257;p42"/>
          <p:cNvSpPr txBox="1">
            <a:spLocks noGrp="1"/>
          </p:cNvSpPr>
          <p:nvPr>
            <p:ph type="ctrTitle" idx="4"/>
          </p:nvPr>
        </p:nvSpPr>
        <p:spPr>
          <a:xfrm>
            <a:off x="2088365" y="3318500"/>
            <a:ext cx="2103000" cy="428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700"/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258" name="Google Shape;258;p42"/>
          <p:cNvSpPr txBox="1">
            <a:spLocks noGrp="1"/>
          </p:cNvSpPr>
          <p:nvPr>
            <p:ph type="subTitle" idx="5"/>
          </p:nvPr>
        </p:nvSpPr>
        <p:spPr>
          <a:xfrm>
            <a:off x="2088369" y="3775700"/>
            <a:ext cx="2103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259" name="Google Shape;259;p42"/>
          <p:cNvSpPr txBox="1">
            <a:spLocks noGrp="1"/>
          </p:cNvSpPr>
          <p:nvPr>
            <p:ph type="title" idx="6" hasCustomPrompt="1"/>
          </p:nvPr>
        </p:nvSpPr>
        <p:spPr>
          <a:xfrm>
            <a:off x="1057275" y="3318500"/>
            <a:ext cx="1031100" cy="9972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None/>
              <a:defRPr sz="4700">
                <a:solidFill>
                  <a:schemeClr val="l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r>
              <a:t>xx%</a:t>
            </a:r>
          </a:p>
        </p:txBody>
      </p:sp>
      <p:sp>
        <p:nvSpPr>
          <p:cNvPr id="260" name="Google Shape;260;p42"/>
          <p:cNvSpPr txBox="1">
            <a:spLocks noGrp="1"/>
          </p:cNvSpPr>
          <p:nvPr>
            <p:ph type="ctrTitle" idx="7"/>
          </p:nvPr>
        </p:nvSpPr>
        <p:spPr>
          <a:xfrm>
            <a:off x="5857821" y="3318500"/>
            <a:ext cx="2111400" cy="428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700"/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261" name="Google Shape;261;p42"/>
          <p:cNvSpPr txBox="1">
            <a:spLocks noGrp="1"/>
          </p:cNvSpPr>
          <p:nvPr>
            <p:ph type="subTitle" idx="8"/>
          </p:nvPr>
        </p:nvSpPr>
        <p:spPr>
          <a:xfrm>
            <a:off x="5857827" y="3775700"/>
            <a:ext cx="2103000" cy="54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None/>
              <a:defRPr sz="13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262" name="Google Shape;262;p42"/>
          <p:cNvSpPr txBox="1">
            <a:spLocks noGrp="1"/>
          </p:cNvSpPr>
          <p:nvPr>
            <p:ph type="title" idx="9" hasCustomPrompt="1"/>
          </p:nvPr>
        </p:nvSpPr>
        <p:spPr>
          <a:xfrm>
            <a:off x="4826725" y="3318500"/>
            <a:ext cx="1031100" cy="9972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None/>
              <a:defRPr sz="4700">
                <a:solidFill>
                  <a:schemeClr val="l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700"/>
              <a:buFont typeface="Montserrat"/>
              <a:buNone/>
              <a:defRPr sz="4700" b="1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r>
              <a:t>xx%</a:t>
            </a:r>
          </a:p>
        </p:txBody>
      </p:sp>
      <p:sp>
        <p:nvSpPr>
          <p:cNvPr id="263" name="Google Shape;263;p42"/>
          <p:cNvSpPr txBox="1">
            <a:spLocks noGrp="1"/>
          </p:cNvSpPr>
          <p:nvPr>
            <p:ph type="ctrTitle" idx="13"/>
          </p:nvPr>
        </p:nvSpPr>
        <p:spPr>
          <a:xfrm>
            <a:off x="2088365" y="1625150"/>
            <a:ext cx="2103000" cy="428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700"/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264" name="Google Shape;264;p42"/>
          <p:cNvSpPr txBox="1">
            <a:spLocks noGrp="1"/>
          </p:cNvSpPr>
          <p:nvPr>
            <p:ph type="ctrTitle" idx="14"/>
          </p:nvPr>
        </p:nvSpPr>
        <p:spPr>
          <a:xfrm>
            <a:off x="5857821" y="1625150"/>
            <a:ext cx="2103000" cy="428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700"/>
              <a:buNone/>
              <a:defRPr sz="20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Font typeface="Montserrat"/>
              <a:buNone/>
              <a:defRPr sz="17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265" name="Google Shape;265;p42"/>
          <p:cNvSpPr txBox="1">
            <a:spLocks noGrp="1"/>
          </p:cNvSpPr>
          <p:nvPr>
            <p:ph type="title" idx="15"/>
          </p:nvPr>
        </p:nvSpPr>
        <p:spPr>
          <a:xfrm>
            <a:off x="818250" y="459775"/>
            <a:ext cx="74874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TITLE_AND_TWO_COLUMNS_1_1"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43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4874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5">
  <p:cSld name="CUSTOM_2">
    <p:bg>
      <p:bgPr>
        <a:solidFill>
          <a:schemeClr val="accent1"/>
        </a:solidFill>
        <a:effectLst/>
      </p:bgPr>
    </p:bg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" name="Google Shape;271;p45"/>
          <p:cNvSpPr txBox="1">
            <a:spLocks noGrp="1"/>
          </p:cNvSpPr>
          <p:nvPr>
            <p:ph type="subTitle" idx="1"/>
          </p:nvPr>
        </p:nvSpPr>
        <p:spPr>
          <a:xfrm>
            <a:off x="2370825" y="2334800"/>
            <a:ext cx="5630100" cy="648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272" name="Google Shape;272;p45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3610800" cy="572700"/>
          </a:xfrm>
          <a:prstGeom prst="rect">
            <a:avLst/>
          </a:prstGeom>
          <a:solidFill>
            <a:schemeClr val="accent1"/>
          </a:solidFill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600"/>
              <a:buNone/>
              <a:defRPr sz="2600"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 2">
  <p:cSld name="TITLE_AND_TWO_COLUMNS_1_1_1_1">
    <p:bg>
      <p:bgPr>
        <a:solidFill>
          <a:schemeClr val="accent1"/>
        </a:solidFill>
        <a:effectLst/>
      </p:bgPr>
    </p:bg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" name="Google Shape;274;p46"/>
          <p:cNvSpPr/>
          <p:nvPr/>
        </p:nvSpPr>
        <p:spPr>
          <a:xfrm>
            <a:off x="2324100" y="647700"/>
            <a:ext cx="5276700" cy="3810000"/>
          </a:xfrm>
          <a:prstGeom prst="rect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5" name="Google Shape;275;p46"/>
          <p:cNvSpPr/>
          <p:nvPr/>
        </p:nvSpPr>
        <p:spPr>
          <a:xfrm>
            <a:off x="914400" y="1276350"/>
            <a:ext cx="3524400" cy="2705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6" name="Google Shape;276;p46"/>
          <p:cNvSpPr txBox="1">
            <a:spLocks noGrp="1"/>
          </p:cNvSpPr>
          <p:nvPr>
            <p:ph type="title" hasCustomPrompt="1"/>
          </p:nvPr>
        </p:nvSpPr>
        <p:spPr>
          <a:xfrm>
            <a:off x="925800" y="1859625"/>
            <a:ext cx="4751100" cy="112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0"/>
              <a:buNone/>
              <a:defRPr sz="10000"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6000">
                <a:solidFill>
                  <a:schemeClr val="lt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6000">
                <a:solidFill>
                  <a:schemeClr val="lt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6000">
                <a:solidFill>
                  <a:schemeClr val="lt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6000">
                <a:solidFill>
                  <a:schemeClr val="lt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6000">
                <a:solidFill>
                  <a:schemeClr val="lt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6000">
                <a:solidFill>
                  <a:schemeClr val="lt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6000">
                <a:solidFill>
                  <a:schemeClr val="lt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None/>
              <a:defRPr sz="6000">
                <a:solidFill>
                  <a:schemeClr val="lt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277" name="Google Shape;277;p46"/>
          <p:cNvSpPr txBox="1">
            <a:spLocks noGrp="1"/>
          </p:cNvSpPr>
          <p:nvPr>
            <p:ph type="subTitle" idx="1"/>
          </p:nvPr>
        </p:nvSpPr>
        <p:spPr>
          <a:xfrm>
            <a:off x="925800" y="2906300"/>
            <a:ext cx="3379500" cy="648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>
                <a:solidFill>
                  <a:schemeClr val="lt2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idea">
  <p:cSld name="TITLE_AND_TWO_COLUMNS_1_1_1_1_1">
    <p:bg>
      <p:bgPr>
        <a:solidFill>
          <a:schemeClr val="accent1"/>
        </a:solidFill>
        <a:effectLst/>
      </p:bgPr>
    </p:bg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47"/>
          <p:cNvSpPr/>
          <p:nvPr/>
        </p:nvSpPr>
        <p:spPr>
          <a:xfrm>
            <a:off x="1409700" y="647700"/>
            <a:ext cx="6191100" cy="3810000"/>
          </a:xfrm>
          <a:prstGeom prst="rect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0" name="Google Shape;280;p47"/>
          <p:cNvSpPr/>
          <p:nvPr/>
        </p:nvSpPr>
        <p:spPr>
          <a:xfrm>
            <a:off x="3314550" y="1390650"/>
            <a:ext cx="4991100" cy="2324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1" name="Google Shape;281;p47"/>
          <p:cNvSpPr txBox="1">
            <a:spLocks noGrp="1"/>
          </p:cNvSpPr>
          <p:nvPr>
            <p:ph type="title"/>
          </p:nvPr>
        </p:nvSpPr>
        <p:spPr>
          <a:xfrm>
            <a:off x="818250" y="1409700"/>
            <a:ext cx="7487400" cy="2247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7000"/>
              <a:buNone/>
              <a:defRPr sz="7000">
                <a:solidFill>
                  <a:schemeClr val="lt2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7000"/>
              <a:buNone/>
              <a:defRPr sz="70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7000"/>
              <a:buNone/>
              <a:defRPr sz="70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7000"/>
              <a:buNone/>
              <a:defRPr sz="70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7000"/>
              <a:buNone/>
              <a:defRPr sz="70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7000"/>
              <a:buNone/>
              <a:defRPr sz="70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7000"/>
              <a:buNone/>
              <a:defRPr sz="70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7000"/>
              <a:buNone/>
              <a:defRPr sz="70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7000"/>
              <a:buNone/>
              <a:defRPr sz="7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 2">
  <p:cSld name="CUSTOM"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p48"/>
          <p:cNvSpPr/>
          <p:nvPr/>
        </p:nvSpPr>
        <p:spPr>
          <a:xfrm>
            <a:off x="638175" y="-142875"/>
            <a:ext cx="2314500" cy="293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4" name="Google Shape;284;p48"/>
          <p:cNvSpPr txBox="1">
            <a:spLocks noGrp="1"/>
          </p:cNvSpPr>
          <p:nvPr>
            <p:ph type="title"/>
          </p:nvPr>
        </p:nvSpPr>
        <p:spPr>
          <a:xfrm>
            <a:off x="818250" y="688375"/>
            <a:ext cx="2030400" cy="191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None/>
              <a:defRPr sz="22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TITLE_AND_BODY_1_1_1_1"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7"/>
          <p:cNvSpPr txBox="1">
            <a:spLocks noGrp="1"/>
          </p:cNvSpPr>
          <p:nvPr>
            <p:ph type="body" idx="1"/>
          </p:nvPr>
        </p:nvSpPr>
        <p:spPr>
          <a:xfrm>
            <a:off x="818250" y="1345650"/>
            <a:ext cx="2808000" cy="2904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8" name="Google Shape;28;p7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solidFill>
          <a:srgbClr val="FFFFFF"/>
        </a:solidFill>
        <a:effectLst/>
      </p:bgPr>
    </p:bg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TITLE_AND_BODY_1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3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13"/>
          <p:cNvSpPr txBox="1">
            <a:spLocks noGrp="1"/>
          </p:cNvSpPr>
          <p:nvPr>
            <p:ph type="title" idx="2" hasCustomPrompt="1"/>
          </p:nvPr>
        </p:nvSpPr>
        <p:spPr>
          <a:xfrm>
            <a:off x="848400" y="2019475"/>
            <a:ext cx="1695900" cy="50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r>
              <a:t>xx%</a:t>
            </a:r>
          </a:p>
        </p:txBody>
      </p:sp>
      <p:sp>
        <p:nvSpPr>
          <p:cNvPr id="46" name="Google Shape;46;p13"/>
          <p:cNvSpPr txBox="1">
            <a:spLocks noGrp="1"/>
          </p:cNvSpPr>
          <p:nvPr>
            <p:ph type="title" idx="3"/>
          </p:nvPr>
        </p:nvSpPr>
        <p:spPr>
          <a:xfrm>
            <a:off x="848400" y="2861100"/>
            <a:ext cx="1695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47" name="Google Shape;47;p13"/>
          <p:cNvSpPr txBox="1">
            <a:spLocks noGrp="1"/>
          </p:cNvSpPr>
          <p:nvPr>
            <p:ph type="subTitle" idx="1"/>
          </p:nvPr>
        </p:nvSpPr>
        <p:spPr>
          <a:xfrm>
            <a:off x="848400" y="3365450"/>
            <a:ext cx="16959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48" name="Google Shape;48;p13"/>
          <p:cNvSpPr txBox="1">
            <a:spLocks noGrp="1"/>
          </p:cNvSpPr>
          <p:nvPr>
            <p:ph type="title" idx="4" hasCustomPrompt="1"/>
          </p:nvPr>
        </p:nvSpPr>
        <p:spPr>
          <a:xfrm>
            <a:off x="2765499" y="2019475"/>
            <a:ext cx="1695900" cy="50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r>
              <a:t>xx%</a:t>
            </a:r>
          </a:p>
        </p:txBody>
      </p:sp>
      <p:sp>
        <p:nvSpPr>
          <p:cNvPr id="49" name="Google Shape;49;p13"/>
          <p:cNvSpPr txBox="1">
            <a:spLocks noGrp="1"/>
          </p:cNvSpPr>
          <p:nvPr>
            <p:ph type="title" idx="5"/>
          </p:nvPr>
        </p:nvSpPr>
        <p:spPr>
          <a:xfrm>
            <a:off x="2765499" y="2861100"/>
            <a:ext cx="1695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50" name="Google Shape;50;p13"/>
          <p:cNvSpPr txBox="1">
            <a:spLocks noGrp="1"/>
          </p:cNvSpPr>
          <p:nvPr>
            <p:ph type="subTitle" idx="6"/>
          </p:nvPr>
        </p:nvSpPr>
        <p:spPr>
          <a:xfrm>
            <a:off x="2765499" y="3365450"/>
            <a:ext cx="16959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51" name="Google Shape;51;p13"/>
          <p:cNvSpPr txBox="1">
            <a:spLocks noGrp="1"/>
          </p:cNvSpPr>
          <p:nvPr>
            <p:ph type="title" idx="7" hasCustomPrompt="1"/>
          </p:nvPr>
        </p:nvSpPr>
        <p:spPr>
          <a:xfrm>
            <a:off x="4682598" y="2019475"/>
            <a:ext cx="1695900" cy="50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r>
              <a:t>xx%</a:t>
            </a:r>
          </a:p>
        </p:txBody>
      </p:sp>
      <p:sp>
        <p:nvSpPr>
          <p:cNvPr id="52" name="Google Shape;52;p13"/>
          <p:cNvSpPr txBox="1">
            <a:spLocks noGrp="1"/>
          </p:cNvSpPr>
          <p:nvPr>
            <p:ph type="title" idx="8"/>
          </p:nvPr>
        </p:nvSpPr>
        <p:spPr>
          <a:xfrm>
            <a:off x="4682598" y="2861100"/>
            <a:ext cx="1695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53" name="Google Shape;53;p13"/>
          <p:cNvSpPr txBox="1">
            <a:spLocks noGrp="1"/>
          </p:cNvSpPr>
          <p:nvPr>
            <p:ph type="subTitle" idx="9"/>
          </p:nvPr>
        </p:nvSpPr>
        <p:spPr>
          <a:xfrm>
            <a:off x="4682598" y="3365450"/>
            <a:ext cx="16959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54" name="Google Shape;54;p13"/>
          <p:cNvSpPr txBox="1">
            <a:spLocks noGrp="1"/>
          </p:cNvSpPr>
          <p:nvPr>
            <p:ph type="title" idx="13" hasCustomPrompt="1"/>
          </p:nvPr>
        </p:nvSpPr>
        <p:spPr>
          <a:xfrm>
            <a:off x="6599697" y="2019475"/>
            <a:ext cx="1695900" cy="50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r>
              <a:t>xx%</a:t>
            </a:r>
          </a:p>
        </p:txBody>
      </p:sp>
      <p:sp>
        <p:nvSpPr>
          <p:cNvPr id="55" name="Google Shape;55;p13"/>
          <p:cNvSpPr txBox="1">
            <a:spLocks noGrp="1"/>
          </p:cNvSpPr>
          <p:nvPr>
            <p:ph type="title" idx="14"/>
          </p:nvPr>
        </p:nvSpPr>
        <p:spPr>
          <a:xfrm>
            <a:off x="6599697" y="2861100"/>
            <a:ext cx="16959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56" name="Google Shape;56;p13"/>
          <p:cNvSpPr txBox="1">
            <a:spLocks noGrp="1"/>
          </p:cNvSpPr>
          <p:nvPr>
            <p:ph type="subTitle" idx="15"/>
          </p:nvPr>
        </p:nvSpPr>
        <p:spPr>
          <a:xfrm>
            <a:off x="6599697" y="3365450"/>
            <a:ext cx="16959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2">
  <p:cSld name="CAPTION_ONLY_1_1">
    <p:bg>
      <p:bgPr>
        <a:solidFill>
          <a:schemeClr val="accent1"/>
        </a:solidFill>
        <a:effectLst/>
      </p:bgPr>
    </p:bg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15"/>
          <p:cNvSpPr txBox="1">
            <a:spLocks noGrp="1"/>
          </p:cNvSpPr>
          <p:nvPr>
            <p:ph type="title"/>
          </p:nvPr>
        </p:nvSpPr>
        <p:spPr>
          <a:xfrm>
            <a:off x="925800" y="3831950"/>
            <a:ext cx="3070200" cy="710700"/>
          </a:xfrm>
          <a:prstGeom prst="rect">
            <a:avLst/>
          </a:prstGeom>
          <a:solidFill>
            <a:schemeClr val="lt2"/>
          </a:solidFill>
        </p:spPr>
        <p:txBody>
          <a:bodyPr spcFirstLastPara="1" wrap="square" lIns="0" tIns="91425" rIns="365750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Montserrat ExtraBold"/>
              <a:buNone/>
              <a:defRPr sz="1800" b="0">
                <a:latin typeface="Montserrat ExtraBold"/>
                <a:ea typeface="Montserrat ExtraBold"/>
                <a:cs typeface="Montserrat ExtraBold"/>
                <a:sym typeface="Montserrat ExtraBold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Montserrat ExtraBold"/>
              <a:buNone/>
              <a:defRPr sz="1400">
                <a:solidFill>
                  <a:schemeClr val="accent1"/>
                </a:solidFill>
                <a:latin typeface="Montserrat ExtraBold"/>
                <a:ea typeface="Montserrat ExtraBold"/>
                <a:cs typeface="Montserrat ExtraBold"/>
                <a:sym typeface="Montserrat ExtraBold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Montserrat ExtraBold"/>
              <a:buNone/>
              <a:defRPr sz="1400">
                <a:solidFill>
                  <a:schemeClr val="accent1"/>
                </a:solidFill>
                <a:latin typeface="Montserrat ExtraBold"/>
                <a:ea typeface="Montserrat ExtraBold"/>
                <a:cs typeface="Montserrat ExtraBold"/>
                <a:sym typeface="Montserrat ExtraBold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Montserrat ExtraBold"/>
              <a:buNone/>
              <a:defRPr sz="1400">
                <a:solidFill>
                  <a:schemeClr val="accent1"/>
                </a:solidFill>
                <a:latin typeface="Montserrat ExtraBold"/>
                <a:ea typeface="Montserrat ExtraBold"/>
                <a:cs typeface="Montserrat ExtraBold"/>
                <a:sym typeface="Montserrat ExtraBold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Montserrat ExtraBold"/>
              <a:buNone/>
              <a:defRPr sz="1400">
                <a:solidFill>
                  <a:schemeClr val="accent1"/>
                </a:solidFill>
                <a:latin typeface="Montserrat ExtraBold"/>
                <a:ea typeface="Montserrat ExtraBold"/>
                <a:cs typeface="Montserrat ExtraBold"/>
                <a:sym typeface="Montserrat ExtraBold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Montserrat ExtraBold"/>
              <a:buNone/>
              <a:defRPr sz="1400">
                <a:solidFill>
                  <a:schemeClr val="accent1"/>
                </a:solidFill>
                <a:latin typeface="Montserrat ExtraBold"/>
                <a:ea typeface="Montserrat ExtraBold"/>
                <a:cs typeface="Montserrat ExtraBold"/>
                <a:sym typeface="Montserrat ExtraBold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Montserrat ExtraBold"/>
              <a:buNone/>
              <a:defRPr sz="1400">
                <a:solidFill>
                  <a:schemeClr val="accent1"/>
                </a:solidFill>
                <a:latin typeface="Montserrat ExtraBold"/>
                <a:ea typeface="Montserrat ExtraBold"/>
                <a:cs typeface="Montserrat ExtraBold"/>
                <a:sym typeface="Montserrat ExtraBold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Montserrat ExtraBold"/>
              <a:buNone/>
              <a:defRPr sz="1400">
                <a:solidFill>
                  <a:schemeClr val="accent1"/>
                </a:solidFill>
                <a:latin typeface="Montserrat ExtraBold"/>
                <a:ea typeface="Montserrat ExtraBold"/>
                <a:cs typeface="Montserrat ExtraBold"/>
                <a:sym typeface="Montserrat ExtraBold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Montserrat ExtraBold"/>
              <a:buNone/>
              <a:defRPr sz="1400">
                <a:solidFill>
                  <a:schemeClr val="accent1"/>
                </a:solidFill>
                <a:latin typeface="Montserrat ExtraBold"/>
                <a:ea typeface="Montserrat ExtraBold"/>
                <a:cs typeface="Montserrat ExtraBold"/>
                <a:sym typeface="Montserrat ExtraBold"/>
              </a:defRPr>
            </a:lvl9pPr>
          </a:lstStyle>
          <a:p>
            <a:endParaRPr/>
          </a:p>
        </p:txBody>
      </p:sp>
      <p:sp>
        <p:nvSpPr>
          <p:cNvPr id="62" name="Google Shape;62;p15"/>
          <p:cNvSpPr txBox="1">
            <a:spLocks noGrp="1"/>
          </p:cNvSpPr>
          <p:nvPr>
            <p:ph type="title" idx="2"/>
          </p:nvPr>
        </p:nvSpPr>
        <p:spPr>
          <a:xfrm>
            <a:off x="818250" y="459775"/>
            <a:ext cx="6424500" cy="245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700"/>
              <a:buNone/>
              <a:defRPr sz="3700"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hree columns">
  <p:cSld name="TITLE_AND_BODY_1_1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7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7"/>
          <p:cNvSpPr txBox="1">
            <a:spLocks noGrp="1"/>
          </p:cNvSpPr>
          <p:nvPr>
            <p:ph type="title" idx="2"/>
          </p:nvPr>
        </p:nvSpPr>
        <p:spPr>
          <a:xfrm>
            <a:off x="1277050" y="3033233"/>
            <a:ext cx="1875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68" name="Google Shape;68;p17"/>
          <p:cNvSpPr txBox="1">
            <a:spLocks noGrp="1"/>
          </p:cNvSpPr>
          <p:nvPr>
            <p:ph type="subTitle" idx="1"/>
          </p:nvPr>
        </p:nvSpPr>
        <p:spPr>
          <a:xfrm>
            <a:off x="1277050" y="3365450"/>
            <a:ext cx="1875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69" name="Google Shape;69;p17"/>
          <p:cNvSpPr txBox="1">
            <a:spLocks noGrp="1"/>
          </p:cNvSpPr>
          <p:nvPr>
            <p:ph type="title" idx="3"/>
          </p:nvPr>
        </p:nvSpPr>
        <p:spPr>
          <a:xfrm>
            <a:off x="3634348" y="3033233"/>
            <a:ext cx="1875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70" name="Google Shape;70;p17"/>
          <p:cNvSpPr txBox="1">
            <a:spLocks noGrp="1"/>
          </p:cNvSpPr>
          <p:nvPr>
            <p:ph type="subTitle" idx="4"/>
          </p:nvPr>
        </p:nvSpPr>
        <p:spPr>
          <a:xfrm>
            <a:off x="3634348" y="3365450"/>
            <a:ext cx="1875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71" name="Google Shape;71;p17"/>
          <p:cNvSpPr txBox="1">
            <a:spLocks noGrp="1"/>
          </p:cNvSpPr>
          <p:nvPr>
            <p:ph type="title" idx="5"/>
          </p:nvPr>
        </p:nvSpPr>
        <p:spPr>
          <a:xfrm>
            <a:off x="5991647" y="3033233"/>
            <a:ext cx="1875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72" name="Google Shape;72;p17"/>
          <p:cNvSpPr txBox="1">
            <a:spLocks noGrp="1"/>
          </p:cNvSpPr>
          <p:nvPr>
            <p:ph type="subTitle" idx="6"/>
          </p:nvPr>
        </p:nvSpPr>
        <p:spPr>
          <a:xfrm>
            <a:off x="5991647" y="3365450"/>
            <a:ext cx="1875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hree columns 2">
  <p:cSld name="TITLE_AND_BODY_1_1_4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393FC5-4C5C-47D9-A9DB-8C89FDCC93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597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393FC5-4C5C-47D9-A9DB-8C89FDCC93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348;p58">
            <a:extLst>
              <a:ext uri="{FF2B5EF4-FFF2-40B4-BE49-F238E27FC236}">
                <a16:creationId xmlns:a16="http://schemas.microsoft.com/office/drawing/2014/main" id="{2A2431C9-14AB-4984-989E-59668C879288}"/>
              </a:ext>
            </a:extLst>
          </p:cNvPr>
          <p:cNvSpPr/>
          <p:nvPr userDrawn="1"/>
        </p:nvSpPr>
        <p:spPr>
          <a:xfrm>
            <a:off x="0" y="2881745"/>
            <a:ext cx="9144000" cy="228826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" name="Google Shape;75;p18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8"/>
          <p:cNvSpPr txBox="1">
            <a:spLocks noGrp="1"/>
          </p:cNvSpPr>
          <p:nvPr>
            <p:ph type="title" idx="2"/>
          </p:nvPr>
        </p:nvSpPr>
        <p:spPr>
          <a:xfrm>
            <a:off x="972250" y="3490433"/>
            <a:ext cx="1875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77" name="Google Shape;77;p18"/>
          <p:cNvSpPr txBox="1">
            <a:spLocks noGrp="1"/>
          </p:cNvSpPr>
          <p:nvPr>
            <p:ph type="subTitle" idx="1"/>
          </p:nvPr>
        </p:nvSpPr>
        <p:spPr>
          <a:xfrm>
            <a:off x="972250" y="3822650"/>
            <a:ext cx="1875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78" name="Google Shape;78;p18"/>
          <p:cNvSpPr txBox="1">
            <a:spLocks noGrp="1"/>
          </p:cNvSpPr>
          <p:nvPr>
            <p:ph type="title" idx="3"/>
          </p:nvPr>
        </p:nvSpPr>
        <p:spPr>
          <a:xfrm>
            <a:off x="3634350" y="3490433"/>
            <a:ext cx="1875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79" name="Google Shape;79;p18"/>
          <p:cNvSpPr txBox="1">
            <a:spLocks noGrp="1"/>
          </p:cNvSpPr>
          <p:nvPr>
            <p:ph type="subTitle" idx="4"/>
          </p:nvPr>
        </p:nvSpPr>
        <p:spPr>
          <a:xfrm>
            <a:off x="3634350" y="3822650"/>
            <a:ext cx="1875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80" name="Google Shape;80;p18"/>
          <p:cNvSpPr txBox="1">
            <a:spLocks noGrp="1"/>
          </p:cNvSpPr>
          <p:nvPr>
            <p:ph type="title" idx="5"/>
          </p:nvPr>
        </p:nvSpPr>
        <p:spPr>
          <a:xfrm>
            <a:off x="6296447" y="3490433"/>
            <a:ext cx="1875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None/>
              <a:defRPr sz="14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18"/>
          <p:cNvSpPr txBox="1">
            <a:spLocks noGrp="1"/>
          </p:cNvSpPr>
          <p:nvPr>
            <p:ph type="subTitle" idx="6"/>
          </p:nvPr>
        </p:nvSpPr>
        <p:spPr>
          <a:xfrm>
            <a:off x="6296447" y="3822650"/>
            <a:ext cx="18753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7C94F6-5A3D-4B32-8809-4DCF01FB94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1011733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395" imgH="394" progId="TCLayout.ActiveDocument.1">
                  <p:embed/>
                </p:oleObj>
              </mc:Choice>
              <mc:Fallback>
                <p:oleObj name="think-cell Slide" r:id="rId39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7C94F6-5A3D-4B32-8809-4DCF01FB94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Montserrat"/>
              <a:buChar char="●"/>
              <a:defRPr sz="1800">
                <a:solidFill>
                  <a:schemeClr val="accent2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ontserrat"/>
              <a:buChar char="○"/>
              <a:defRPr>
                <a:solidFill>
                  <a:schemeClr val="accent2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ontserrat"/>
              <a:buChar char="■"/>
              <a:defRPr>
                <a:solidFill>
                  <a:schemeClr val="accent2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ontserrat"/>
              <a:buChar char="●"/>
              <a:defRPr>
                <a:solidFill>
                  <a:schemeClr val="accent2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ontserrat"/>
              <a:buChar char="○"/>
              <a:defRPr>
                <a:solidFill>
                  <a:schemeClr val="accent2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ontserrat"/>
              <a:buChar char="■"/>
              <a:defRPr>
                <a:solidFill>
                  <a:schemeClr val="accent2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ontserrat"/>
              <a:buChar char="●"/>
              <a:defRPr>
                <a:solidFill>
                  <a:schemeClr val="accent2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SzPts val="1400"/>
              <a:buFont typeface="Montserrat"/>
              <a:buChar char="○"/>
              <a:defRPr>
                <a:solidFill>
                  <a:schemeClr val="accent2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2"/>
              </a:buClr>
              <a:buSzPts val="1400"/>
              <a:buFont typeface="Montserrat"/>
              <a:buChar char="■"/>
              <a:defRPr>
                <a:solidFill>
                  <a:schemeClr val="accent2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2" r:id="rId3"/>
    <p:sldLayoutId id="2147483653" r:id="rId4"/>
    <p:sldLayoutId id="2147483658" r:id="rId5"/>
    <p:sldLayoutId id="2147483659" r:id="rId6"/>
    <p:sldLayoutId id="2147483661" r:id="rId7"/>
    <p:sldLayoutId id="2147483663" r:id="rId8"/>
    <p:sldLayoutId id="2147483664" r:id="rId9"/>
    <p:sldLayoutId id="2147483665" r:id="rId10"/>
    <p:sldLayoutId id="2147483666" r:id="rId11"/>
    <p:sldLayoutId id="2147483668" r:id="rId12"/>
    <p:sldLayoutId id="2147483669" r:id="rId13"/>
    <p:sldLayoutId id="2147483670" r:id="rId14"/>
    <p:sldLayoutId id="2147483671" r:id="rId15"/>
    <p:sldLayoutId id="2147483672" r:id="rId16"/>
    <p:sldLayoutId id="2147483673" r:id="rId17"/>
    <p:sldLayoutId id="2147483674" r:id="rId18"/>
    <p:sldLayoutId id="2147483675" r:id="rId19"/>
    <p:sldLayoutId id="2147483677" r:id="rId20"/>
    <p:sldLayoutId id="2147483678" r:id="rId21"/>
    <p:sldLayoutId id="2147483679" r:id="rId22"/>
    <p:sldLayoutId id="2147483680" r:id="rId23"/>
    <p:sldLayoutId id="2147483681" r:id="rId24"/>
    <p:sldLayoutId id="2147483682" r:id="rId25"/>
    <p:sldLayoutId id="2147483683" r:id="rId26"/>
    <p:sldLayoutId id="2147483684" r:id="rId27"/>
    <p:sldLayoutId id="2147483685" r:id="rId28"/>
    <p:sldLayoutId id="2147483686" r:id="rId29"/>
    <p:sldLayoutId id="2147483688" r:id="rId30"/>
    <p:sldLayoutId id="2147483689" r:id="rId31"/>
    <p:sldLayoutId id="2147483691" r:id="rId32"/>
    <p:sldLayoutId id="2147483692" r:id="rId33"/>
    <p:sldLayoutId id="2147483693" r:id="rId34"/>
    <p:sldLayoutId id="2147483694" r:id="rId35"/>
    <p:sldLayoutId id="2147483695" r:id="rId3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4.x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9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1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2.xml"/><Relationship Id="rId6" Type="http://schemas.openxmlformats.org/officeDocument/2006/relationships/image" Target="../media/image1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2E02B9-E238-4DC5-A9AD-EACF47B973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009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2E02B9-E238-4DC5-A9AD-EACF47B973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6" name="Google Shape;296;p53"/>
          <p:cNvSpPr txBox="1">
            <a:spLocks noGrp="1"/>
          </p:cNvSpPr>
          <p:nvPr>
            <p:ph type="ctrTitle"/>
          </p:nvPr>
        </p:nvSpPr>
        <p:spPr>
          <a:xfrm>
            <a:off x="5801208" y="357238"/>
            <a:ext cx="3342792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1"/>
                </a:solidFill>
              </a:rPr>
              <a:t>¿Cómo predecir un infarto?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297" name="Google Shape;297;p53"/>
          <p:cNvSpPr txBox="1">
            <a:spLocks noGrp="1"/>
          </p:cNvSpPr>
          <p:nvPr>
            <p:ph type="subTitle" idx="1"/>
          </p:nvPr>
        </p:nvSpPr>
        <p:spPr>
          <a:xfrm>
            <a:off x="5190081" y="4423636"/>
            <a:ext cx="3877719" cy="53975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b="1" dirty="0"/>
              <a:t>Ironhack Final Bootcamp Project</a:t>
            </a: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dirty="0"/>
              <a:t>Andrea Evrard</a:t>
            </a:r>
            <a:endParaRPr sz="1400" dirty="0"/>
          </a:p>
        </p:txBody>
      </p:sp>
      <p:pic>
        <p:nvPicPr>
          <p:cNvPr id="3078" name="Picture 6" descr="See the source image">
            <a:extLst>
              <a:ext uri="{FF2B5EF4-FFF2-40B4-BE49-F238E27FC236}">
                <a16:creationId xmlns:a16="http://schemas.microsoft.com/office/drawing/2014/main" id="{09535F0B-C17B-4DE2-BEC8-67C356218B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088" y="564379"/>
            <a:ext cx="7453847" cy="5228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See the source image">
            <a:extLst>
              <a:ext uri="{FF2B5EF4-FFF2-40B4-BE49-F238E27FC236}">
                <a16:creationId xmlns:a16="http://schemas.microsoft.com/office/drawing/2014/main" id="{33BB7309-AFC2-46C5-BBCD-20D1564A6D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982" y="92448"/>
            <a:ext cx="1872503" cy="1872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DA620C3-A1B0-4DD1-93BA-8692D4AC4A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350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DA620C3-A1B0-4DD1-93BA-8692D4AC4A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C713173E-D0C3-4279-A1AD-670827B9E8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545" y="63371"/>
            <a:ext cx="8934909" cy="501675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AAA636B-866C-4947-80A9-37913D74B2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8999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AAA636B-866C-4947-80A9-37913D74B2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2" name="Google Shape;472;p65"/>
          <p:cNvSpPr txBox="1">
            <a:spLocks noGrp="1"/>
          </p:cNvSpPr>
          <p:nvPr>
            <p:ph type="title"/>
          </p:nvPr>
        </p:nvSpPr>
        <p:spPr>
          <a:xfrm>
            <a:off x="781573" y="1830600"/>
            <a:ext cx="4129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CONCLUSIONES PRINCIPALES</a:t>
            </a:r>
            <a:endParaRPr dirty="0"/>
          </a:p>
        </p:txBody>
      </p:sp>
      <p:sp>
        <p:nvSpPr>
          <p:cNvPr id="474" name="Google Shape;474;p65"/>
          <p:cNvSpPr txBox="1">
            <a:spLocks noGrp="1"/>
          </p:cNvSpPr>
          <p:nvPr>
            <p:ph type="title" idx="2"/>
          </p:nvPr>
        </p:nvSpPr>
        <p:spPr>
          <a:xfrm>
            <a:off x="1968823" y="1528200"/>
            <a:ext cx="1754700" cy="604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04:</a:t>
            </a:r>
            <a:endParaRPr dirty="0"/>
          </a:p>
        </p:txBody>
      </p:sp>
      <p:pic>
        <p:nvPicPr>
          <p:cNvPr id="13316" name="Picture 4">
            <a:extLst>
              <a:ext uri="{FF2B5EF4-FFF2-40B4-BE49-F238E27FC236}">
                <a16:creationId xmlns:a16="http://schemas.microsoft.com/office/drawing/2014/main" id="{023044BB-41C2-457E-84A5-9810DA464F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9122" y="1213878"/>
            <a:ext cx="4174878" cy="2457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65256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2EC44B4-8265-4E6A-BAE1-16D457812D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0262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2EC44B4-8265-4E6A-BAE1-16D457812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75" name="Google Shape;775;p77"/>
          <p:cNvCxnSpPr>
            <a:cxnSpLocks/>
          </p:cNvCxnSpPr>
          <p:nvPr/>
        </p:nvCxnSpPr>
        <p:spPr>
          <a:xfrm>
            <a:off x="0" y="1941483"/>
            <a:ext cx="9144000" cy="0"/>
          </a:xfrm>
          <a:prstGeom prst="straightConnector1">
            <a:avLst/>
          </a:prstGeom>
          <a:noFill/>
          <a:ln w="19050" cap="flat" cmpd="sng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76" name="Google Shape;776;p77"/>
          <p:cNvSpPr txBox="1">
            <a:spLocks noGrp="1"/>
          </p:cNvSpPr>
          <p:nvPr>
            <p:ph type="title"/>
          </p:nvPr>
        </p:nvSpPr>
        <p:spPr>
          <a:xfrm>
            <a:off x="551329" y="459775"/>
            <a:ext cx="8088406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002060"/>
                </a:solidFill>
              </a:rPr>
              <a:t>CONCLUSIONES GENERALES DEL PROYECTO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777" name="Google Shape;777;p77"/>
          <p:cNvSpPr txBox="1">
            <a:spLocks noGrp="1"/>
          </p:cNvSpPr>
          <p:nvPr>
            <p:ph type="title" idx="2"/>
          </p:nvPr>
        </p:nvSpPr>
        <p:spPr>
          <a:xfrm>
            <a:off x="1298694" y="2390209"/>
            <a:ext cx="2804688" cy="79258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002060"/>
                </a:solidFill>
              </a:rPr>
              <a:t>PREDICCIÓN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778" name="Google Shape;778;p77"/>
          <p:cNvSpPr txBox="1">
            <a:spLocks noGrp="1"/>
          </p:cNvSpPr>
          <p:nvPr>
            <p:ph type="subTitle" idx="1"/>
          </p:nvPr>
        </p:nvSpPr>
        <p:spPr>
          <a:xfrm>
            <a:off x="1054410" y="2786503"/>
            <a:ext cx="3293256" cy="191461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_tradnl" dirty="0"/>
              <a:t>Predecir una variable a partir de un </a:t>
            </a:r>
            <a:r>
              <a:rPr lang="es-ES_tradnl" dirty="0" err="1"/>
              <a:t>dataset</a:t>
            </a:r>
            <a:r>
              <a:rPr lang="es-ES_tradnl" dirty="0"/>
              <a:t> puede resultar muy complejo según los datos que tengas.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s-ES_tradnl" dirty="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_tradnl" dirty="0"/>
              <a:t>A veces hay que priorizar un parámetro concreto renunciando a un buen resultado en otro parámetro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_tradnl" dirty="0"/>
              <a:t>(que no muera gente a pesar de que mucha gente se llevará un susto).</a:t>
            </a:r>
            <a:endParaRPr dirty="0"/>
          </a:p>
        </p:txBody>
      </p:sp>
      <p:sp>
        <p:nvSpPr>
          <p:cNvPr id="779" name="Google Shape;779;p77"/>
          <p:cNvSpPr/>
          <p:nvPr/>
        </p:nvSpPr>
        <p:spPr>
          <a:xfrm>
            <a:off x="2386200" y="1631445"/>
            <a:ext cx="629700" cy="6297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80" name="Google Shape;780;p77"/>
          <p:cNvSpPr txBox="1">
            <a:spLocks noGrp="1"/>
          </p:cNvSpPr>
          <p:nvPr>
            <p:ph type="title" idx="3"/>
          </p:nvPr>
        </p:nvSpPr>
        <p:spPr>
          <a:xfrm>
            <a:off x="5216495" y="2402410"/>
            <a:ext cx="2493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002060"/>
                </a:solidFill>
              </a:rPr>
              <a:t>VARIABLES MÉDICAS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781" name="Google Shape;781;p77"/>
          <p:cNvSpPr/>
          <p:nvPr/>
        </p:nvSpPr>
        <p:spPr>
          <a:xfrm>
            <a:off x="6128125" y="1631445"/>
            <a:ext cx="629700" cy="6297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83" name="Google Shape;783;p77"/>
          <p:cNvSpPr txBox="1">
            <a:spLocks noGrp="1"/>
          </p:cNvSpPr>
          <p:nvPr>
            <p:ph type="title" idx="5"/>
          </p:nvPr>
        </p:nvSpPr>
        <p:spPr>
          <a:xfrm>
            <a:off x="1853100" y="1693856"/>
            <a:ext cx="1695900" cy="50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002060"/>
                </a:solidFill>
              </a:rPr>
              <a:t>1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784" name="Google Shape;784;p77"/>
          <p:cNvSpPr txBox="1">
            <a:spLocks noGrp="1"/>
          </p:cNvSpPr>
          <p:nvPr>
            <p:ph type="title" idx="6"/>
          </p:nvPr>
        </p:nvSpPr>
        <p:spPr>
          <a:xfrm>
            <a:off x="5595025" y="1693856"/>
            <a:ext cx="1695900" cy="504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002060"/>
                </a:solidFill>
              </a:rPr>
              <a:t>2</a:t>
            </a:r>
            <a:endParaRPr>
              <a:solidFill>
                <a:srgbClr val="002060"/>
              </a:solidFill>
            </a:endParaRPr>
          </a:p>
        </p:txBody>
      </p:sp>
      <p:cxnSp>
        <p:nvCxnSpPr>
          <p:cNvPr id="785" name="Google Shape;785;p77"/>
          <p:cNvCxnSpPr>
            <a:cxnSpLocks/>
          </p:cNvCxnSpPr>
          <p:nvPr/>
        </p:nvCxnSpPr>
        <p:spPr>
          <a:xfrm>
            <a:off x="654432" y="962050"/>
            <a:ext cx="7783597" cy="0"/>
          </a:xfrm>
          <a:prstGeom prst="straightConnector1">
            <a:avLst/>
          </a:prstGeom>
          <a:noFill/>
          <a:ln w="19050" cap="flat" cmpd="sng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1" name="Google Shape;778;p77">
            <a:extLst>
              <a:ext uri="{FF2B5EF4-FFF2-40B4-BE49-F238E27FC236}">
                <a16:creationId xmlns:a16="http://schemas.microsoft.com/office/drawing/2014/main" id="{EAD1C7AC-4358-406C-B815-5A4F29559858}"/>
              </a:ext>
            </a:extLst>
          </p:cNvPr>
          <p:cNvSpPr txBox="1">
            <a:spLocks/>
          </p:cNvSpPr>
          <p:nvPr/>
        </p:nvSpPr>
        <p:spPr>
          <a:xfrm>
            <a:off x="4702814" y="2820135"/>
            <a:ext cx="3520661" cy="1914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200"/>
              <a:buFont typeface="Montserrat"/>
              <a:buNone/>
              <a:defRPr sz="1200" b="0" i="0" u="none" strike="noStrike" cap="none">
                <a:solidFill>
                  <a:schemeClr val="accent2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200"/>
              <a:buFont typeface="Montserrat"/>
              <a:buNone/>
              <a:defRPr sz="1200" b="0" i="0" u="none" strike="noStrike" cap="none">
                <a:solidFill>
                  <a:schemeClr val="accent2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200"/>
              <a:buFont typeface="Montserrat"/>
              <a:buNone/>
              <a:defRPr sz="1200" b="0" i="0" u="none" strike="noStrike" cap="none">
                <a:solidFill>
                  <a:schemeClr val="accent2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200"/>
              <a:buFont typeface="Montserrat"/>
              <a:buNone/>
              <a:defRPr sz="1200" b="0" i="0" u="none" strike="noStrike" cap="none">
                <a:solidFill>
                  <a:schemeClr val="accent2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200"/>
              <a:buFont typeface="Montserrat"/>
              <a:buNone/>
              <a:defRPr sz="1200" b="0" i="0" u="none" strike="noStrike" cap="none">
                <a:solidFill>
                  <a:schemeClr val="accent2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200"/>
              <a:buFont typeface="Montserrat"/>
              <a:buNone/>
              <a:defRPr sz="1200" b="0" i="0" u="none" strike="noStrike" cap="none">
                <a:solidFill>
                  <a:schemeClr val="accent2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200"/>
              <a:buFont typeface="Montserrat"/>
              <a:buNone/>
              <a:defRPr sz="1200" b="0" i="0" u="none" strike="noStrike" cap="none">
                <a:solidFill>
                  <a:schemeClr val="accent2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200"/>
              <a:buFont typeface="Montserrat"/>
              <a:buNone/>
              <a:defRPr sz="1200" b="0" i="0" u="none" strike="noStrike" cap="none">
                <a:solidFill>
                  <a:schemeClr val="accent2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200"/>
              <a:buFont typeface="Montserrat"/>
              <a:buNone/>
              <a:defRPr sz="1200" b="0" i="0" u="none" strike="noStrike" cap="none">
                <a:solidFill>
                  <a:schemeClr val="accent2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marL="0" indent="0"/>
            <a:r>
              <a:rPr lang="es-ES" dirty="0"/>
              <a:t>Siempre hay que tener muchos factores en cuenta a la hora de predecir una enfermedad y, aun así, se puede fallar porque pueden entrar en juego factores que, a veces, ni los médicos se habían dado cuenta.</a:t>
            </a:r>
          </a:p>
          <a:p>
            <a:pPr marL="0" indent="0"/>
            <a:endParaRPr lang="es-ES" dirty="0"/>
          </a:p>
          <a:p>
            <a:pPr marL="0" indent="0"/>
            <a:r>
              <a:rPr lang="es-ES" dirty="0"/>
              <a:t>Se puede hacer una aproximación de quién es más probable que sufra un infarto, pero es difícil predecir con seguridad.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C4BA4B5-A6F1-4C09-A089-7E869AB0FB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9093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C4BA4B5-A6F1-4C09-A089-7E869AB0FB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0" name="Google Shape;800;p79"/>
          <p:cNvSpPr txBox="1">
            <a:spLocks noGrp="1"/>
          </p:cNvSpPr>
          <p:nvPr>
            <p:ph type="ctrTitle"/>
          </p:nvPr>
        </p:nvSpPr>
        <p:spPr>
          <a:xfrm>
            <a:off x="2111188" y="633609"/>
            <a:ext cx="4921624" cy="610246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002060"/>
                </a:solidFill>
              </a:rPr>
              <a:t>¡MUCHAS GRACIAS!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EEB8977-A6D6-4406-A55F-F88673F455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6386" name="Picture 2" descr="man in white thobe standing">
            <a:extLst>
              <a:ext uri="{FF2B5EF4-FFF2-40B4-BE49-F238E27FC236}">
                <a16:creationId xmlns:a16="http://schemas.microsoft.com/office/drawing/2014/main" id="{748AFC4B-2722-41A9-8E0B-645F940FFF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95450"/>
            <a:ext cx="9144000" cy="344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0" name="Google Shape;310;p55"/>
          <p:cNvCxnSpPr/>
          <p:nvPr/>
        </p:nvCxnSpPr>
        <p:spPr>
          <a:xfrm>
            <a:off x="-14700" y="2271925"/>
            <a:ext cx="9173400" cy="0"/>
          </a:xfrm>
          <a:prstGeom prst="straightConnector1">
            <a:avLst/>
          </a:prstGeom>
          <a:noFill/>
          <a:ln w="19050" cap="flat" cmpd="sng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11" name="Google Shape;311;p55"/>
          <p:cNvSpPr/>
          <p:nvPr/>
        </p:nvSpPr>
        <p:spPr>
          <a:xfrm>
            <a:off x="1328700" y="1904275"/>
            <a:ext cx="735300" cy="735300"/>
          </a:xfrm>
          <a:prstGeom prst="ellipse">
            <a:avLst/>
          </a:prstGeom>
          <a:solidFill>
            <a:schemeClr val="bg1"/>
          </a:solidFill>
          <a:ln w="19050" cap="flat" cmpd="sng">
            <a:solidFill>
              <a:srgbClr val="00206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002060"/>
              </a:solidFill>
            </a:endParaRPr>
          </a:p>
        </p:txBody>
      </p:sp>
      <p:sp>
        <p:nvSpPr>
          <p:cNvPr id="312" name="Google Shape;312;p55"/>
          <p:cNvSpPr/>
          <p:nvPr/>
        </p:nvSpPr>
        <p:spPr>
          <a:xfrm>
            <a:off x="3245800" y="1904275"/>
            <a:ext cx="735300" cy="735300"/>
          </a:xfrm>
          <a:prstGeom prst="ellipse">
            <a:avLst/>
          </a:prstGeom>
          <a:solidFill>
            <a:schemeClr val="bg1"/>
          </a:solidFill>
          <a:ln w="19050" cap="flat" cmpd="sng">
            <a:solidFill>
              <a:srgbClr val="00206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002060"/>
              </a:solidFill>
            </a:endParaRPr>
          </a:p>
        </p:txBody>
      </p:sp>
      <p:sp>
        <p:nvSpPr>
          <p:cNvPr id="313" name="Google Shape;313;p55"/>
          <p:cNvSpPr/>
          <p:nvPr/>
        </p:nvSpPr>
        <p:spPr>
          <a:xfrm>
            <a:off x="5162900" y="1904275"/>
            <a:ext cx="735300" cy="735300"/>
          </a:xfrm>
          <a:prstGeom prst="ellipse">
            <a:avLst/>
          </a:prstGeom>
          <a:solidFill>
            <a:schemeClr val="bg1"/>
          </a:solidFill>
          <a:ln w="19050" cap="flat" cmpd="sng">
            <a:solidFill>
              <a:srgbClr val="00206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002060"/>
              </a:solidFill>
            </a:endParaRPr>
          </a:p>
        </p:txBody>
      </p:sp>
      <p:sp>
        <p:nvSpPr>
          <p:cNvPr id="314" name="Google Shape;314;p55"/>
          <p:cNvSpPr/>
          <p:nvPr/>
        </p:nvSpPr>
        <p:spPr>
          <a:xfrm>
            <a:off x="7080000" y="1904275"/>
            <a:ext cx="735300" cy="735300"/>
          </a:xfrm>
          <a:prstGeom prst="ellipse">
            <a:avLst/>
          </a:prstGeom>
          <a:solidFill>
            <a:schemeClr val="bg1"/>
          </a:solidFill>
          <a:ln w="19050" cap="flat" cmpd="sng">
            <a:solidFill>
              <a:srgbClr val="00206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002060"/>
              </a:solidFill>
            </a:endParaRPr>
          </a:p>
        </p:txBody>
      </p:sp>
      <p:sp>
        <p:nvSpPr>
          <p:cNvPr id="315" name="Google Shape;315;p55"/>
          <p:cNvSpPr txBox="1"/>
          <p:nvPr/>
        </p:nvSpPr>
        <p:spPr>
          <a:xfrm>
            <a:off x="818250" y="459775"/>
            <a:ext cx="7507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00" b="1" dirty="0">
                <a:solidFill>
                  <a:srgbClr val="026A98"/>
                </a:solidFill>
                <a:latin typeface="Montserrat"/>
                <a:ea typeface="Montserrat"/>
                <a:cs typeface="Montserrat"/>
                <a:sym typeface="Montserrat"/>
              </a:rPr>
              <a:t>TABLA DE CONTENIDO</a:t>
            </a:r>
            <a:endParaRPr sz="2600" b="1" dirty="0">
              <a:solidFill>
                <a:srgbClr val="026A98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316" name="Google Shape;316;p55"/>
          <p:cNvSpPr txBox="1"/>
          <p:nvPr/>
        </p:nvSpPr>
        <p:spPr>
          <a:xfrm>
            <a:off x="848400" y="2019475"/>
            <a:ext cx="1695900" cy="50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b="1" dirty="0">
                <a:solidFill>
                  <a:srgbClr val="026A98"/>
                </a:solidFill>
                <a:latin typeface="Montserrat"/>
                <a:ea typeface="Montserrat"/>
                <a:cs typeface="Montserrat"/>
                <a:sym typeface="Montserrat"/>
              </a:rPr>
              <a:t>01</a:t>
            </a:r>
            <a:endParaRPr sz="2400" b="1" dirty="0">
              <a:solidFill>
                <a:srgbClr val="026A98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317" name="Google Shape;317;p55"/>
          <p:cNvSpPr txBox="1"/>
          <p:nvPr/>
        </p:nvSpPr>
        <p:spPr>
          <a:xfrm>
            <a:off x="848400" y="2861100"/>
            <a:ext cx="16959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dirty="0">
                <a:solidFill>
                  <a:srgbClr val="026A98"/>
                </a:solidFill>
                <a:latin typeface="Montserrat"/>
                <a:ea typeface="Montserrat"/>
                <a:cs typeface="Montserrat"/>
                <a:sym typeface="Montserrat"/>
              </a:rPr>
              <a:t>ACERCA DEL PROYECTO</a:t>
            </a:r>
            <a:endParaRPr b="1" dirty="0">
              <a:solidFill>
                <a:srgbClr val="026A98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319" name="Google Shape;319;p55"/>
          <p:cNvSpPr txBox="1"/>
          <p:nvPr/>
        </p:nvSpPr>
        <p:spPr>
          <a:xfrm>
            <a:off x="2765499" y="2019475"/>
            <a:ext cx="1695900" cy="50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b="1">
                <a:solidFill>
                  <a:srgbClr val="026A98"/>
                </a:solidFill>
                <a:latin typeface="Montserrat"/>
                <a:ea typeface="Montserrat"/>
                <a:cs typeface="Montserrat"/>
                <a:sym typeface="Montserrat"/>
              </a:rPr>
              <a:t>02</a:t>
            </a:r>
            <a:endParaRPr sz="2400" b="1">
              <a:solidFill>
                <a:srgbClr val="026A98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320" name="Google Shape;320;p55"/>
          <p:cNvSpPr txBox="1"/>
          <p:nvPr/>
        </p:nvSpPr>
        <p:spPr>
          <a:xfrm>
            <a:off x="2743202" y="2861100"/>
            <a:ext cx="1745093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dirty="0">
                <a:solidFill>
                  <a:srgbClr val="026A98"/>
                </a:solidFill>
                <a:latin typeface="Montserrat"/>
                <a:ea typeface="Montserrat"/>
                <a:cs typeface="Montserrat"/>
                <a:sym typeface="Montserrat"/>
              </a:rPr>
              <a:t>MODELO DE CLASIFICACION</a:t>
            </a:r>
            <a:endParaRPr b="1" dirty="0">
              <a:solidFill>
                <a:srgbClr val="026A98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322" name="Google Shape;322;p55"/>
          <p:cNvSpPr txBox="1"/>
          <p:nvPr/>
        </p:nvSpPr>
        <p:spPr>
          <a:xfrm>
            <a:off x="4682598" y="2019475"/>
            <a:ext cx="1695900" cy="50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b="1">
                <a:solidFill>
                  <a:srgbClr val="026A98"/>
                </a:solidFill>
                <a:latin typeface="Montserrat"/>
                <a:ea typeface="Montserrat"/>
                <a:cs typeface="Montserrat"/>
                <a:sym typeface="Montserrat"/>
              </a:rPr>
              <a:t>03</a:t>
            </a:r>
            <a:endParaRPr sz="2400" b="1">
              <a:solidFill>
                <a:srgbClr val="026A98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323" name="Google Shape;323;p55"/>
          <p:cNvSpPr txBox="1"/>
          <p:nvPr/>
        </p:nvSpPr>
        <p:spPr>
          <a:xfrm>
            <a:off x="4682598" y="2861100"/>
            <a:ext cx="1806498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dirty="0">
                <a:solidFill>
                  <a:srgbClr val="026A98"/>
                </a:solidFill>
                <a:latin typeface="Montserrat"/>
                <a:ea typeface="Montserrat"/>
                <a:cs typeface="Montserrat"/>
                <a:sym typeface="Montserrat"/>
              </a:rPr>
              <a:t>VISUALIZACIÓN DE RESULTADOS</a:t>
            </a:r>
            <a:endParaRPr b="1" dirty="0">
              <a:solidFill>
                <a:srgbClr val="026A98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325" name="Google Shape;325;p55"/>
          <p:cNvSpPr txBox="1"/>
          <p:nvPr/>
        </p:nvSpPr>
        <p:spPr>
          <a:xfrm>
            <a:off x="6599697" y="2019475"/>
            <a:ext cx="1695900" cy="50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b="1" dirty="0">
                <a:solidFill>
                  <a:srgbClr val="026A98"/>
                </a:solidFill>
                <a:latin typeface="Montserrat"/>
                <a:ea typeface="Montserrat"/>
                <a:cs typeface="Montserrat"/>
                <a:sym typeface="Montserrat"/>
              </a:rPr>
              <a:t>04</a:t>
            </a:r>
            <a:endParaRPr sz="2400" b="1" dirty="0">
              <a:solidFill>
                <a:srgbClr val="026A98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326" name="Google Shape;326;p55"/>
          <p:cNvSpPr txBox="1"/>
          <p:nvPr/>
        </p:nvSpPr>
        <p:spPr>
          <a:xfrm>
            <a:off x="6599697" y="2861100"/>
            <a:ext cx="16959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dirty="0">
                <a:solidFill>
                  <a:srgbClr val="026A98"/>
                </a:solidFill>
                <a:latin typeface="Montserrat"/>
                <a:ea typeface="Montserrat"/>
                <a:cs typeface="Montserrat"/>
                <a:sym typeface="Montserrat"/>
              </a:rPr>
              <a:t>CONCLUSIONES PRINCIPALES</a:t>
            </a:r>
            <a:endParaRPr b="1" dirty="0">
              <a:solidFill>
                <a:srgbClr val="026A98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2BDFCA3-DEB5-47A2-A5A1-01CF923A93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7421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2BDFCA3-DEB5-47A2-A5A1-01CF923A93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8" name="Google Shape;348;p58"/>
          <p:cNvSpPr/>
          <p:nvPr/>
        </p:nvSpPr>
        <p:spPr>
          <a:xfrm>
            <a:off x="0" y="865800"/>
            <a:ext cx="5014500" cy="34119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9" name="Google Shape;349;p58"/>
          <p:cNvSpPr txBox="1">
            <a:spLocks noGrp="1"/>
          </p:cNvSpPr>
          <p:nvPr>
            <p:ph type="title"/>
          </p:nvPr>
        </p:nvSpPr>
        <p:spPr>
          <a:xfrm>
            <a:off x="778557" y="1715543"/>
            <a:ext cx="347001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ACERCA DEL PROYECTO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351" name="Google Shape;351;p58"/>
          <p:cNvSpPr txBox="1">
            <a:spLocks noGrp="1"/>
          </p:cNvSpPr>
          <p:nvPr>
            <p:ph type="title" idx="2"/>
          </p:nvPr>
        </p:nvSpPr>
        <p:spPr>
          <a:xfrm>
            <a:off x="1641413" y="1367754"/>
            <a:ext cx="1754700" cy="604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</a:rPr>
              <a:t>01</a:t>
            </a:r>
            <a:endParaRPr>
              <a:solidFill>
                <a:schemeClr val="lt1"/>
              </a:solidFill>
            </a:endParaRPr>
          </a:p>
        </p:txBody>
      </p:sp>
      <p:pic>
        <p:nvPicPr>
          <p:cNvPr id="6" name="Graphic 5" descr="Magnifying glass with solid fill">
            <a:extLst>
              <a:ext uri="{FF2B5EF4-FFF2-40B4-BE49-F238E27FC236}">
                <a16:creationId xmlns:a16="http://schemas.microsoft.com/office/drawing/2014/main" id="{1C28A3FD-E9C1-40E2-A03B-36824AAB80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21120544">
            <a:off x="4007223" y="294290"/>
            <a:ext cx="4551829" cy="4551829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3386639-1559-4D9D-84E3-4B2CD2FB5D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200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3386639-1559-4D9D-84E3-4B2CD2FB5D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4" name="Google Shape;334;p56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002060"/>
                </a:solidFill>
              </a:rPr>
              <a:t>INTRODUCCIÓN</a:t>
            </a:r>
            <a:endParaRPr dirty="0">
              <a:solidFill>
                <a:srgbClr val="002060"/>
              </a:solidFill>
            </a:endParaRPr>
          </a:p>
        </p:txBody>
      </p:sp>
      <p:cxnSp>
        <p:nvCxnSpPr>
          <p:cNvPr id="335" name="Google Shape;335;p56"/>
          <p:cNvCxnSpPr/>
          <p:nvPr/>
        </p:nvCxnSpPr>
        <p:spPr>
          <a:xfrm>
            <a:off x="916600" y="962050"/>
            <a:ext cx="2704200" cy="0"/>
          </a:xfrm>
          <a:prstGeom prst="straightConnector1">
            <a:avLst/>
          </a:prstGeom>
          <a:noFill/>
          <a:ln w="19050" cap="flat" cmpd="sng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5126" name="Picture 6" descr="See the source image">
            <a:extLst>
              <a:ext uri="{FF2B5EF4-FFF2-40B4-BE49-F238E27FC236}">
                <a16:creationId xmlns:a16="http://schemas.microsoft.com/office/drawing/2014/main" id="{D6FA0808-F211-4531-B983-AC40C36F3A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2176" y="0"/>
            <a:ext cx="6521823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3" name="Google Shape;333;p56"/>
          <p:cNvSpPr txBox="1">
            <a:spLocks noGrp="1"/>
          </p:cNvSpPr>
          <p:nvPr>
            <p:ph type="body" idx="1"/>
          </p:nvPr>
        </p:nvSpPr>
        <p:spPr>
          <a:xfrm>
            <a:off x="818250" y="1345650"/>
            <a:ext cx="2808000" cy="2904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s-ES" dirty="0"/>
              <a:t>Nos</a:t>
            </a:r>
            <a:r>
              <a:rPr lang="en" dirty="0"/>
              <a:t> ha contratado una </a:t>
            </a:r>
            <a:r>
              <a:rPr lang="en" b="1" dirty="0"/>
              <a:t>organización sanitaria </a:t>
            </a:r>
            <a:r>
              <a:rPr lang="en" dirty="0"/>
              <a:t>que está </a:t>
            </a:r>
            <a:r>
              <a:rPr lang="en" b="1" dirty="0"/>
              <a:t>investigando las principales causas de infarto</a:t>
            </a:r>
            <a:r>
              <a:rPr lang="en" dirty="0"/>
              <a:t>. </a:t>
            </a:r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s-ES" dirty="0"/>
              <a:t>N</a:t>
            </a:r>
            <a:r>
              <a:rPr lang="en" dirty="0"/>
              <a:t>uestro objetivo es construir un modelo que consiga predecir si es probable que un paciente sufra un infarto o no.</a:t>
            </a:r>
            <a:endParaRPr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19198B6-8749-4E1C-8A96-6E37B07938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22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19198B6-8749-4E1C-8A96-6E37B07938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3" name="Google Shape;393;p61"/>
          <p:cNvSpPr/>
          <p:nvPr/>
        </p:nvSpPr>
        <p:spPr>
          <a:xfrm>
            <a:off x="3708300" y="459775"/>
            <a:ext cx="863700" cy="863700"/>
          </a:xfrm>
          <a:prstGeom prst="ellipse">
            <a:avLst/>
          </a:prstGeom>
          <a:noFill/>
          <a:ln w="19050" cap="flat" cmpd="sng">
            <a:solidFill>
              <a:srgbClr val="00206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4" name="Google Shape;394;p61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002060"/>
                </a:solidFill>
              </a:rPr>
              <a:t>DATASET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396" name="Google Shape;396;p61"/>
          <p:cNvSpPr txBox="1">
            <a:spLocks noGrp="1"/>
          </p:cNvSpPr>
          <p:nvPr>
            <p:ph type="title" idx="2"/>
          </p:nvPr>
        </p:nvSpPr>
        <p:spPr>
          <a:xfrm>
            <a:off x="4322250" y="459775"/>
            <a:ext cx="1875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002060"/>
                </a:solidFill>
              </a:rPr>
              <a:t>DATASET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397" name="Google Shape;397;p61"/>
          <p:cNvSpPr txBox="1">
            <a:spLocks noGrp="1"/>
          </p:cNvSpPr>
          <p:nvPr>
            <p:ph type="subTitle" idx="1"/>
          </p:nvPr>
        </p:nvSpPr>
        <p:spPr>
          <a:xfrm>
            <a:off x="4757706" y="768137"/>
            <a:ext cx="3989606" cy="48391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_tradnl" dirty="0"/>
              <a:t>El </a:t>
            </a:r>
            <a:r>
              <a:rPr lang="es-ES_tradnl" dirty="0" err="1"/>
              <a:t>dataset</a:t>
            </a:r>
            <a:r>
              <a:rPr lang="es-ES_tradnl" dirty="0"/>
              <a:t> cuenta con 5110 filas y 12 columnas.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_tradnl" dirty="0"/>
              <a:t>La variable que se quiere predecir es </a:t>
            </a:r>
            <a:r>
              <a:rPr lang="es-ES_tradnl" i="1" dirty="0" err="1"/>
              <a:t>stroke</a:t>
            </a:r>
            <a:r>
              <a:rPr lang="es-ES_tradnl" dirty="0"/>
              <a:t>.</a:t>
            </a:r>
            <a:endParaRPr dirty="0"/>
          </a:p>
        </p:txBody>
      </p:sp>
      <p:cxnSp>
        <p:nvCxnSpPr>
          <p:cNvPr id="402" name="Google Shape;402;p61"/>
          <p:cNvCxnSpPr>
            <a:cxnSpLocks/>
          </p:cNvCxnSpPr>
          <p:nvPr/>
        </p:nvCxnSpPr>
        <p:spPr>
          <a:xfrm>
            <a:off x="916600" y="962050"/>
            <a:ext cx="1651788" cy="0"/>
          </a:xfrm>
          <a:prstGeom prst="straightConnector1">
            <a:avLst/>
          </a:prstGeom>
          <a:noFill/>
          <a:ln w="19050" cap="flat" cmpd="sng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A6F4955-B947-458A-A61F-1F1B81ECCC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4052" y="1754327"/>
            <a:ext cx="8215895" cy="293948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5" name="Graphic 14" descr="Research outline">
            <a:extLst>
              <a:ext uri="{FF2B5EF4-FFF2-40B4-BE49-F238E27FC236}">
                <a16:creationId xmlns:a16="http://schemas.microsoft.com/office/drawing/2014/main" id="{A2065066-9162-490C-97BA-79B2BD6664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47304" y="592284"/>
            <a:ext cx="585691" cy="585691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Shape 4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AAA636B-866C-4947-80A9-37913D74B2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6732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AAA636B-866C-4947-80A9-37913D74B2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2" name="Google Shape;472;p65"/>
          <p:cNvSpPr txBox="1">
            <a:spLocks noGrp="1"/>
          </p:cNvSpPr>
          <p:nvPr>
            <p:ph type="title"/>
          </p:nvPr>
        </p:nvSpPr>
        <p:spPr>
          <a:xfrm>
            <a:off x="774850" y="1698650"/>
            <a:ext cx="4129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O DE CLASIFICACIÓN</a:t>
            </a:r>
            <a:endParaRPr dirty="0"/>
          </a:p>
        </p:txBody>
      </p:sp>
      <p:sp>
        <p:nvSpPr>
          <p:cNvPr id="474" name="Google Shape;474;p65"/>
          <p:cNvSpPr txBox="1">
            <a:spLocks noGrp="1"/>
          </p:cNvSpPr>
          <p:nvPr>
            <p:ph type="title" idx="2"/>
          </p:nvPr>
        </p:nvSpPr>
        <p:spPr>
          <a:xfrm>
            <a:off x="3149350" y="1367754"/>
            <a:ext cx="1754700" cy="604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2:</a:t>
            </a:r>
            <a:endParaRPr/>
          </a:p>
        </p:txBody>
      </p:sp>
      <p:pic>
        <p:nvPicPr>
          <p:cNvPr id="7172" name="Picture 4" descr="See the source image">
            <a:extLst>
              <a:ext uri="{FF2B5EF4-FFF2-40B4-BE49-F238E27FC236}">
                <a16:creationId xmlns:a16="http://schemas.microsoft.com/office/drawing/2014/main" id="{BA656D18-3174-4B81-9237-46C8FF51A3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8254" y="1125255"/>
            <a:ext cx="3965746" cy="2640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4B11506-428D-4C6D-AFE9-669E275D5A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8070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4B11506-428D-4C6D-AFE9-669E275D5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6" name="Google Shape;356;p59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002060"/>
                </a:solidFill>
              </a:rPr>
              <a:t>ETAPAS DEL MODELO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357" name="Google Shape;357;p59"/>
          <p:cNvSpPr txBox="1">
            <a:spLocks noGrp="1"/>
          </p:cNvSpPr>
          <p:nvPr>
            <p:ph type="title" idx="4294967295"/>
          </p:nvPr>
        </p:nvSpPr>
        <p:spPr>
          <a:xfrm>
            <a:off x="1103131" y="3130030"/>
            <a:ext cx="1336200" cy="353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dirty="0">
                <a:solidFill>
                  <a:srgbClr val="002060"/>
                </a:solidFill>
              </a:rPr>
              <a:t>DATASET</a:t>
            </a:r>
            <a:endParaRPr sz="1400" dirty="0">
              <a:solidFill>
                <a:srgbClr val="002060"/>
              </a:solidFill>
            </a:endParaRPr>
          </a:p>
        </p:txBody>
      </p:sp>
      <p:sp>
        <p:nvSpPr>
          <p:cNvPr id="358" name="Google Shape;358;p59"/>
          <p:cNvSpPr txBox="1">
            <a:spLocks noGrp="1"/>
          </p:cNvSpPr>
          <p:nvPr>
            <p:ph type="subTitle" idx="4294967295"/>
          </p:nvPr>
        </p:nvSpPr>
        <p:spPr>
          <a:xfrm>
            <a:off x="677423" y="3466325"/>
            <a:ext cx="17619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-ES" sz="1200" dirty="0"/>
              <a:t>Importamos</a:t>
            </a:r>
            <a:r>
              <a:rPr lang="en" sz="1200" dirty="0"/>
              <a:t> el dataset y tratamos de entenderlo</a:t>
            </a:r>
            <a:endParaRPr sz="1200" dirty="0"/>
          </a:p>
        </p:txBody>
      </p:sp>
      <p:sp>
        <p:nvSpPr>
          <p:cNvPr id="359" name="Google Shape;359;p59"/>
          <p:cNvSpPr txBox="1">
            <a:spLocks noGrp="1"/>
          </p:cNvSpPr>
          <p:nvPr>
            <p:ph type="title" idx="4294967295"/>
          </p:nvPr>
        </p:nvSpPr>
        <p:spPr>
          <a:xfrm>
            <a:off x="3226917" y="2208301"/>
            <a:ext cx="1761908" cy="353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dirty="0">
                <a:solidFill>
                  <a:srgbClr val="002060"/>
                </a:solidFill>
              </a:rPr>
              <a:t>EXPLORACIÓN DE LOS DATOS</a:t>
            </a:r>
            <a:endParaRPr sz="1400" dirty="0">
              <a:solidFill>
                <a:srgbClr val="002060"/>
              </a:solidFill>
            </a:endParaRPr>
          </a:p>
        </p:txBody>
      </p:sp>
      <p:sp>
        <p:nvSpPr>
          <p:cNvPr id="360" name="Google Shape;360;p59"/>
          <p:cNvSpPr txBox="1">
            <a:spLocks noGrp="1"/>
          </p:cNvSpPr>
          <p:nvPr>
            <p:ph type="subTitle" idx="4294967295"/>
          </p:nvPr>
        </p:nvSpPr>
        <p:spPr>
          <a:xfrm>
            <a:off x="3226917" y="2652182"/>
            <a:ext cx="17619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-ES_tradnl" sz="1200" dirty="0"/>
              <a:t>Limpiamos y exploramos el </a:t>
            </a:r>
            <a:r>
              <a:rPr lang="es-ES_tradnl" sz="1200" dirty="0" err="1"/>
              <a:t>dataset</a:t>
            </a:r>
            <a:r>
              <a:rPr lang="es-ES_tradnl" sz="1200" dirty="0"/>
              <a:t> para dejarlo lo mejor posible para el modelo</a:t>
            </a:r>
            <a:endParaRPr sz="1200" dirty="0"/>
          </a:p>
          <a:p>
            <a:pPr marL="0" lvl="0" indent="0" algn="r" rtl="0">
              <a:spcBef>
                <a:spcPts val="0"/>
              </a:spcBef>
              <a:spcAft>
                <a:spcPts val="1600"/>
              </a:spcAft>
              <a:buNone/>
            </a:pPr>
            <a:endParaRPr sz="1200" dirty="0"/>
          </a:p>
        </p:txBody>
      </p:sp>
      <p:sp>
        <p:nvSpPr>
          <p:cNvPr id="361" name="Google Shape;361;p59"/>
          <p:cNvSpPr txBox="1">
            <a:spLocks noGrp="1"/>
          </p:cNvSpPr>
          <p:nvPr>
            <p:ph type="title" idx="4294967295"/>
          </p:nvPr>
        </p:nvSpPr>
        <p:spPr>
          <a:xfrm>
            <a:off x="6100256" y="1277596"/>
            <a:ext cx="1336200" cy="353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 dirty="0">
                <a:solidFill>
                  <a:srgbClr val="002060"/>
                </a:solidFill>
              </a:rPr>
              <a:t>MODELO</a:t>
            </a:r>
            <a:endParaRPr sz="1400" dirty="0">
              <a:solidFill>
                <a:srgbClr val="002060"/>
              </a:solidFill>
            </a:endParaRPr>
          </a:p>
        </p:txBody>
      </p:sp>
      <p:sp>
        <p:nvSpPr>
          <p:cNvPr id="362" name="Google Shape;362;p59"/>
          <p:cNvSpPr txBox="1">
            <a:spLocks noGrp="1"/>
          </p:cNvSpPr>
          <p:nvPr>
            <p:ph type="subTitle" idx="4294967295"/>
          </p:nvPr>
        </p:nvSpPr>
        <p:spPr>
          <a:xfrm>
            <a:off x="5674650" y="1613900"/>
            <a:ext cx="17619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-ES_tradnl" sz="1200" dirty="0"/>
              <a:t>Construimos los modelos y los evaluamos</a:t>
            </a:r>
            <a:endParaRPr sz="1200" dirty="0"/>
          </a:p>
          <a:p>
            <a:pPr marL="0" lvl="0" indent="0" algn="r" rtl="0">
              <a:spcBef>
                <a:spcPts val="0"/>
              </a:spcBef>
              <a:spcAft>
                <a:spcPts val="1600"/>
              </a:spcAft>
              <a:buNone/>
            </a:pPr>
            <a:endParaRPr sz="1200" dirty="0"/>
          </a:p>
        </p:txBody>
      </p:sp>
      <p:sp>
        <p:nvSpPr>
          <p:cNvPr id="363" name="Google Shape;363;p59"/>
          <p:cNvSpPr/>
          <p:nvPr/>
        </p:nvSpPr>
        <p:spPr>
          <a:xfrm>
            <a:off x="2552825" y="3343875"/>
            <a:ext cx="496500" cy="496500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64" name="Google Shape;364;p59"/>
          <p:cNvGrpSpPr/>
          <p:nvPr/>
        </p:nvGrpSpPr>
        <p:grpSpPr>
          <a:xfrm>
            <a:off x="2645252" y="3437922"/>
            <a:ext cx="311827" cy="308595"/>
            <a:chOff x="5309250" y="2903170"/>
            <a:chExt cx="359579" cy="355852"/>
          </a:xfrm>
        </p:grpSpPr>
        <p:sp>
          <p:nvSpPr>
            <p:cNvPr id="365" name="Google Shape;365;p59"/>
            <p:cNvSpPr/>
            <p:nvPr/>
          </p:nvSpPr>
          <p:spPr>
            <a:xfrm>
              <a:off x="5410517" y="3006317"/>
              <a:ext cx="77854" cy="76452"/>
            </a:xfrm>
            <a:custGeom>
              <a:avLst/>
              <a:gdLst/>
              <a:ahLst/>
              <a:cxnLst/>
              <a:rect l="l" t="t" r="r" b="b"/>
              <a:pathLst>
                <a:path w="2444" h="2400" extrusionOk="0">
                  <a:moveTo>
                    <a:pt x="1345" y="315"/>
                  </a:moveTo>
                  <a:cubicBezTo>
                    <a:pt x="1450" y="315"/>
                    <a:pt x="1549" y="346"/>
                    <a:pt x="1631" y="420"/>
                  </a:cubicBezTo>
                  <a:cubicBezTo>
                    <a:pt x="1905" y="634"/>
                    <a:pt x="2060" y="1206"/>
                    <a:pt x="2096" y="1622"/>
                  </a:cubicBezTo>
                  <a:cubicBezTo>
                    <a:pt x="2104" y="1923"/>
                    <a:pt x="1755" y="2071"/>
                    <a:pt x="1406" y="2071"/>
                  </a:cubicBezTo>
                  <a:cubicBezTo>
                    <a:pt x="1257" y="2071"/>
                    <a:pt x="1109" y="2045"/>
                    <a:pt x="988" y="1991"/>
                  </a:cubicBezTo>
                  <a:cubicBezTo>
                    <a:pt x="560" y="1801"/>
                    <a:pt x="381" y="1313"/>
                    <a:pt x="560" y="872"/>
                  </a:cubicBezTo>
                  <a:cubicBezTo>
                    <a:pt x="693" y="580"/>
                    <a:pt x="1042" y="315"/>
                    <a:pt x="1345" y="315"/>
                  </a:cubicBezTo>
                  <a:close/>
                  <a:moveTo>
                    <a:pt x="1344" y="1"/>
                  </a:moveTo>
                  <a:cubicBezTo>
                    <a:pt x="906" y="1"/>
                    <a:pt x="447" y="320"/>
                    <a:pt x="262" y="741"/>
                  </a:cubicBezTo>
                  <a:cubicBezTo>
                    <a:pt x="0" y="1336"/>
                    <a:pt x="262" y="2027"/>
                    <a:pt x="857" y="2289"/>
                  </a:cubicBezTo>
                  <a:cubicBezTo>
                    <a:pt x="1022" y="2363"/>
                    <a:pt x="1214" y="2400"/>
                    <a:pt x="1407" y="2400"/>
                  </a:cubicBezTo>
                  <a:cubicBezTo>
                    <a:pt x="1925" y="2400"/>
                    <a:pt x="2443" y="2134"/>
                    <a:pt x="2417" y="1622"/>
                  </a:cubicBezTo>
                  <a:cubicBezTo>
                    <a:pt x="2405" y="1134"/>
                    <a:pt x="2203" y="479"/>
                    <a:pt x="1858" y="182"/>
                  </a:cubicBezTo>
                  <a:cubicBezTo>
                    <a:pt x="1704" y="56"/>
                    <a:pt x="1526" y="1"/>
                    <a:pt x="134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6" name="Google Shape;366;p59"/>
            <p:cNvSpPr/>
            <p:nvPr/>
          </p:nvSpPr>
          <p:spPr>
            <a:xfrm>
              <a:off x="5309250" y="2903170"/>
              <a:ext cx="359579" cy="355852"/>
            </a:xfrm>
            <a:custGeom>
              <a:avLst/>
              <a:gdLst/>
              <a:ahLst/>
              <a:cxnLst/>
              <a:rect l="l" t="t" r="r" b="b"/>
              <a:pathLst>
                <a:path w="11288" h="11171" extrusionOk="0">
                  <a:moveTo>
                    <a:pt x="3691" y="336"/>
                  </a:moveTo>
                  <a:cubicBezTo>
                    <a:pt x="3775" y="336"/>
                    <a:pt x="3846" y="383"/>
                    <a:pt x="3870" y="455"/>
                  </a:cubicBezTo>
                  <a:lnTo>
                    <a:pt x="4084" y="991"/>
                  </a:lnTo>
                  <a:cubicBezTo>
                    <a:pt x="3953" y="1003"/>
                    <a:pt x="3846" y="1050"/>
                    <a:pt x="3739" y="1122"/>
                  </a:cubicBezTo>
                  <a:lnTo>
                    <a:pt x="3536" y="586"/>
                  </a:lnTo>
                  <a:cubicBezTo>
                    <a:pt x="3489" y="455"/>
                    <a:pt x="3572" y="336"/>
                    <a:pt x="3691" y="336"/>
                  </a:cubicBezTo>
                  <a:close/>
                  <a:moveTo>
                    <a:pt x="7834" y="436"/>
                  </a:moveTo>
                  <a:cubicBezTo>
                    <a:pt x="7859" y="436"/>
                    <a:pt x="7883" y="442"/>
                    <a:pt x="7906" y="455"/>
                  </a:cubicBezTo>
                  <a:cubicBezTo>
                    <a:pt x="7989" y="503"/>
                    <a:pt x="8037" y="598"/>
                    <a:pt x="7989" y="693"/>
                  </a:cubicBezTo>
                  <a:lnTo>
                    <a:pt x="7763" y="1217"/>
                  </a:lnTo>
                  <a:cubicBezTo>
                    <a:pt x="7668" y="1134"/>
                    <a:pt x="7561" y="1086"/>
                    <a:pt x="7418" y="1062"/>
                  </a:cubicBezTo>
                  <a:lnTo>
                    <a:pt x="7668" y="538"/>
                  </a:lnTo>
                  <a:cubicBezTo>
                    <a:pt x="7702" y="478"/>
                    <a:pt x="7769" y="436"/>
                    <a:pt x="7834" y="436"/>
                  </a:cubicBezTo>
                  <a:close/>
                  <a:moveTo>
                    <a:pt x="698" y="3177"/>
                  </a:moveTo>
                  <a:cubicBezTo>
                    <a:pt x="775" y="3177"/>
                    <a:pt x="883" y="3247"/>
                    <a:pt x="1298" y="3431"/>
                  </a:cubicBezTo>
                  <a:cubicBezTo>
                    <a:pt x="1250" y="3479"/>
                    <a:pt x="1227" y="3539"/>
                    <a:pt x="1191" y="3586"/>
                  </a:cubicBezTo>
                  <a:cubicBezTo>
                    <a:pt x="1191" y="3586"/>
                    <a:pt x="1167" y="3658"/>
                    <a:pt x="1155" y="3765"/>
                  </a:cubicBezTo>
                  <a:lnTo>
                    <a:pt x="631" y="3527"/>
                  </a:lnTo>
                  <a:cubicBezTo>
                    <a:pt x="477" y="3479"/>
                    <a:pt x="477" y="3253"/>
                    <a:pt x="631" y="3193"/>
                  </a:cubicBezTo>
                  <a:cubicBezTo>
                    <a:pt x="655" y="3183"/>
                    <a:pt x="675" y="3177"/>
                    <a:pt x="698" y="3177"/>
                  </a:cubicBezTo>
                  <a:close/>
                  <a:moveTo>
                    <a:pt x="10679" y="3437"/>
                  </a:moveTo>
                  <a:cubicBezTo>
                    <a:pt x="10755" y="3437"/>
                    <a:pt x="10841" y="3482"/>
                    <a:pt x="10871" y="3551"/>
                  </a:cubicBezTo>
                  <a:cubicBezTo>
                    <a:pt x="10906" y="3646"/>
                    <a:pt x="10847" y="3765"/>
                    <a:pt x="10764" y="3789"/>
                  </a:cubicBezTo>
                  <a:lnTo>
                    <a:pt x="10228" y="4003"/>
                  </a:lnTo>
                  <a:cubicBezTo>
                    <a:pt x="10216" y="3848"/>
                    <a:pt x="10168" y="3741"/>
                    <a:pt x="10097" y="3658"/>
                  </a:cubicBezTo>
                  <a:lnTo>
                    <a:pt x="10633" y="3443"/>
                  </a:lnTo>
                  <a:cubicBezTo>
                    <a:pt x="10647" y="3439"/>
                    <a:pt x="10663" y="3437"/>
                    <a:pt x="10679" y="3437"/>
                  </a:cubicBezTo>
                  <a:close/>
                  <a:moveTo>
                    <a:pt x="1060" y="7134"/>
                  </a:moveTo>
                  <a:cubicBezTo>
                    <a:pt x="1072" y="7265"/>
                    <a:pt x="1119" y="7372"/>
                    <a:pt x="1191" y="7480"/>
                  </a:cubicBezTo>
                  <a:lnTo>
                    <a:pt x="655" y="7682"/>
                  </a:lnTo>
                  <a:cubicBezTo>
                    <a:pt x="635" y="7694"/>
                    <a:pt x="612" y="7699"/>
                    <a:pt x="589" y="7699"/>
                  </a:cubicBezTo>
                  <a:cubicBezTo>
                    <a:pt x="518" y="7699"/>
                    <a:pt x="444" y="7650"/>
                    <a:pt x="417" y="7587"/>
                  </a:cubicBezTo>
                  <a:cubicBezTo>
                    <a:pt x="381" y="7492"/>
                    <a:pt x="429" y="7372"/>
                    <a:pt x="524" y="7349"/>
                  </a:cubicBezTo>
                  <a:lnTo>
                    <a:pt x="1060" y="7134"/>
                  </a:lnTo>
                  <a:close/>
                  <a:moveTo>
                    <a:pt x="10144" y="7361"/>
                  </a:moveTo>
                  <a:lnTo>
                    <a:pt x="10656" y="7599"/>
                  </a:lnTo>
                  <a:cubicBezTo>
                    <a:pt x="10811" y="7658"/>
                    <a:pt x="10811" y="7884"/>
                    <a:pt x="10656" y="7944"/>
                  </a:cubicBezTo>
                  <a:cubicBezTo>
                    <a:pt x="10637" y="7950"/>
                    <a:pt x="10619" y="7953"/>
                    <a:pt x="10601" y="7953"/>
                  </a:cubicBezTo>
                  <a:cubicBezTo>
                    <a:pt x="10506" y="7953"/>
                    <a:pt x="10398" y="7875"/>
                    <a:pt x="9990" y="7706"/>
                  </a:cubicBezTo>
                  <a:cubicBezTo>
                    <a:pt x="10061" y="7611"/>
                    <a:pt x="10121" y="7515"/>
                    <a:pt x="10144" y="7361"/>
                  </a:cubicBezTo>
                  <a:close/>
                  <a:moveTo>
                    <a:pt x="3536" y="9920"/>
                  </a:moveTo>
                  <a:cubicBezTo>
                    <a:pt x="3620" y="9992"/>
                    <a:pt x="3727" y="10051"/>
                    <a:pt x="3870" y="10063"/>
                  </a:cubicBezTo>
                  <a:lnTo>
                    <a:pt x="3620" y="10587"/>
                  </a:lnTo>
                  <a:cubicBezTo>
                    <a:pt x="3584" y="10658"/>
                    <a:pt x="3522" y="10696"/>
                    <a:pt x="3454" y="10696"/>
                  </a:cubicBezTo>
                  <a:cubicBezTo>
                    <a:pt x="3430" y="10696"/>
                    <a:pt x="3406" y="10691"/>
                    <a:pt x="3382" y="10682"/>
                  </a:cubicBezTo>
                  <a:cubicBezTo>
                    <a:pt x="3298" y="10635"/>
                    <a:pt x="3251" y="10528"/>
                    <a:pt x="3298" y="10444"/>
                  </a:cubicBezTo>
                  <a:lnTo>
                    <a:pt x="3536" y="9920"/>
                  </a:lnTo>
                  <a:close/>
                  <a:moveTo>
                    <a:pt x="7549" y="10016"/>
                  </a:moveTo>
                  <a:cubicBezTo>
                    <a:pt x="7727" y="10528"/>
                    <a:pt x="7799" y="10575"/>
                    <a:pt x="7763" y="10694"/>
                  </a:cubicBezTo>
                  <a:cubicBezTo>
                    <a:pt x="7728" y="10770"/>
                    <a:pt x="7659" y="10809"/>
                    <a:pt x="7590" y="10809"/>
                  </a:cubicBezTo>
                  <a:cubicBezTo>
                    <a:pt x="7519" y="10809"/>
                    <a:pt x="7448" y="10767"/>
                    <a:pt x="7418" y="10682"/>
                  </a:cubicBezTo>
                  <a:lnTo>
                    <a:pt x="7204" y="10147"/>
                  </a:lnTo>
                  <a:cubicBezTo>
                    <a:pt x="7346" y="10123"/>
                    <a:pt x="7442" y="10087"/>
                    <a:pt x="7549" y="10016"/>
                  </a:cubicBezTo>
                  <a:close/>
                  <a:moveTo>
                    <a:pt x="3696" y="1"/>
                  </a:moveTo>
                  <a:cubicBezTo>
                    <a:pt x="3631" y="1"/>
                    <a:pt x="3565" y="13"/>
                    <a:pt x="3501" y="38"/>
                  </a:cubicBezTo>
                  <a:cubicBezTo>
                    <a:pt x="3239" y="145"/>
                    <a:pt x="3096" y="443"/>
                    <a:pt x="3203" y="705"/>
                  </a:cubicBezTo>
                  <a:lnTo>
                    <a:pt x="3477" y="1407"/>
                  </a:lnTo>
                  <a:cubicBezTo>
                    <a:pt x="3239" y="1753"/>
                    <a:pt x="3203" y="1765"/>
                    <a:pt x="2846" y="1824"/>
                  </a:cubicBezTo>
                  <a:cubicBezTo>
                    <a:pt x="2655" y="1848"/>
                    <a:pt x="2429" y="1896"/>
                    <a:pt x="2286" y="2050"/>
                  </a:cubicBezTo>
                  <a:cubicBezTo>
                    <a:pt x="2012" y="2300"/>
                    <a:pt x="2060" y="2741"/>
                    <a:pt x="1929" y="2955"/>
                  </a:cubicBezTo>
                  <a:cubicBezTo>
                    <a:pt x="1870" y="3027"/>
                    <a:pt x="1762" y="3098"/>
                    <a:pt x="1643" y="3181"/>
                  </a:cubicBezTo>
                  <a:cubicBezTo>
                    <a:pt x="1631" y="3193"/>
                    <a:pt x="1608" y="3205"/>
                    <a:pt x="1584" y="3217"/>
                  </a:cubicBezTo>
                  <a:lnTo>
                    <a:pt x="893" y="2920"/>
                  </a:lnTo>
                  <a:cubicBezTo>
                    <a:pt x="830" y="2888"/>
                    <a:pt x="761" y="2873"/>
                    <a:pt x="692" y="2873"/>
                  </a:cubicBezTo>
                  <a:cubicBezTo>
                    <a:pt x="630" y="2873"/>
                    <a:pt x="568" y="2885"/>
                    <a:pt x="512" y="2908"/>
                  </a:cubicBezTo>
                  <a:cubicBezTo>
                    <a:pt x="84" y="3074"/>
                    <a:pt x="60" y="3670"/>
                    <a:pt x="477" y="3860"/>
                  </a:cubicBezTo>
                  <a:lnTo>
                    <a:pt x="1167" y="4158"/>
                  </a:lnTo>
                  <a:cubicBezTo>
                    <a:pt x="1239" y="4563"/>
                    <a:pt x="1239" y="4586"/>
                    <a:pt x="1012" y="4920"/>
                  </a:cubicBezTo>
                  <a:cubicBezTo>
                    <a:pt x="893" y="5086"/>
                    <a:pt x="774" y="5265"/>
                    <a:pt x="774" y="5467"/>
                  </a:cubicBezTo>
                  <a:cubicBezTo>
                    <a:pt x="762" y="5825"/>
                    <a:pt x="1119" y="6122"/>
                    <a:pt x="1167" y="6360"/>
                  </a:cubicBezTo>
                  <a:cubicBezTo>
                    <a:pt x="1179" y="6479"/>
                    <a:pt x="1155" y="6646"/>
                    <a:pt x="1108" y="6777"/>
                  </a:cubicBezTo>
                  <a:lnTo>
                    <a:pt x="405" y="7051"/>
                  </a:lnTo>
                  <a:cubicBezTo>
                    <a:pt x="143" y="7146"/>
                    <a:pt x="0" y="7444"/>
                    <a:pt x="107" y="7718"/>
                  </a:cubicBezTo>
                  <a:cubicBezTo>
                    <a:pt x="190" y="7920"/>
                    <a:pt x="386" y="8051"/>
                    <a:pt x="592" y="8051"/>
                  </a:cubicBezTo>
                  <a:cubicBezTo>
                    <a:pt x="653" y="8051"/>
                    <a:pt x="714" y="8040"/>
                    <a:pt x="774" y="8015"/>
                  </a:cubicBezTo>
                  <a:lnTo>
                    <a:pt x="1477" y="7742"/>
                  </a:lnTo>
                  <a:cubicBezTo>
                    <a:pt x="1822" y="7980"/>
                    <a:pt x="1834" y="8015"/>
                    <a:pt x="1893" y="8373"/>
                  </a:cubicBezTo>
                  <a:cubicBezTo>
                    <a:pt x="1989" y="8932"/>
                    <a:pt x="2131" y="9075"/>
                    <a:pt x="2667" y="9194"/>
                  </a:cubicBezTo>
                  <a:cubicBezTo>
                    <a:pt x="3036" y="9277"/>
                    <a:pt x="3060" y="9289"/>
                    <a:pt x="3274" y="9647"/>
                  </a:cubicBezTo>
                  <a:lnTo>
                    <a:pt x="2977" y="10337"/>
                  </a:lnTo>
                  <a:cubicBezTo>
                    <a:pt x="2815" y="10691"/>
                    <a:pt x="3091" y="11053"/>
                    <a:pt x="3439" y="11053"/>
                  </a:cubicBezTo>
                  <a:cubicBezTo>
                    <a:pt x="3502" y="11053"/>
                    <a:pt x="3567" y="11041"/>
                    <a:pt x="3632" y="11016"/>
                  </a:cubicBezTo>
                  <a:cubicBezTo>
                    <a:pt x="3775" y="10980"/>
                    <a:pt x="3858" y="10873"/>
                    <a:pt x="3917" y="10754"/>
                  </a:cubicBezTo>
                  <a:lnTo>
                    <a:pt x="4215" y="10063"/>
                  </a:lnTo>
                  <a:cubicBezTo>
                    <a:pt x="4361" y="10038"/>
                    <a:pt x="4457" y="10021"/>
                    <a:pt x="4536" y="10021"/>
                  </a:cubicBezTo>
                  <a:cubicBezTo>
                    <a:pt x="4677" y="10021"/>
                    <a:pt x="4764" y="10073"/>
                    <a:pt x="4977" y="10218"/>
                  </a:cubicBezTo>
                  <a:cubicBezTo>
                    <a:pt x="5204" y="10377"/>
                    <a:pt x="5367" y="10458"/>
                    <a:pt x="5538" y="10458"/>
                  </a:cubicBezTo>
                  <a:cubicBezTo>
                    <a:pt x="5699" y="10458"/>
                    <a:pt x="5865" y="10386"/>
                    <a:pt x="6096" y="10242"/>
                  </a:cubicBezTo>
                  <a:cubicBezTo>
                    <a:pt x="6280" y="10126"/>
                    <a:pt x="6363" y="10080"/>
                    <a:pt x="6476" y="10080"/>
                  </a:cubicBezTo>
                  <a:cubicBezTo>
                    <a:pt x="6560" y="10080"/>
                    <a:pt x="6661" y="10106"/>
                    <a:pt x="6834" y="10147"/>
                  </a:cubicBezTo>
                  <a:lnTo>
                    <a:pt x="7108" y="10837"/>
                  </a:lnTo>
                  <a:cubicBezTo>
                    <a:pt x="7180" y="11051"/>
                    <a:pt x="7370" y="11171"/>
                    <a:pt x="7585" y="11171"/>
                  </a:cubicBezTo>
                  <a:cubicBezTo>
                    <a:pt x="7942" y="11171"/>
                    <a:pt x="8192" y="10813"/>
                    <a:pt x="8061" y="10468"/>
                  </a:cubicBezTo>
                  <a:lnTo>
                    <a:pt x="7787" y="9766"/>
                  </a:lnTo>
                  <a:cubicBezTo>
                    <a:pt x="8025" y="9432"/>
                    <a:pt x="8061" y="9408"/>
                    <a:pt x="8418" y="9349"/>
                  </a:cubicBezTo>
                  <a:cubicBezTo>
                    <a:pt x="8978" y="9266"/>
                    <a:pt x="9109" y="9111"/>
                    <a:pt x="9228" y="8575"/>
                  </a:cubicBezTo>
                  <a:cubicBezTo>
                    <a:pt x="9323" y="8206"/>
                    <a:pt x="9335" y="8194"/>
                    <a:pt x="9692" y="7968"/>
                  </a:cubicBezTo>
                  <a:cubicBezTo>
                    <a:pt x="10198" y="8180"/>
                    <a:pt x="10406" y="8313"/>
                    <a:pt x="10595" y="8313"/>
                  </a:cubicBezTo>
                  <a:cubicBezTo>
                    <a:pt x="10650" y="8313"/>
                    <a:pt x="10704" y="8302"/>
                    <a:pt x="10764" y="8277"/>
                  </a:cubicBezTo>
                  <a:cubicBezTo>
                    <a:pt x="11192" y="8075"/>
                    <a:pt x="11216" y="7480"/>
                    <a:pt x="10799" y="7301"/>
                  </a:cubicBezTo>
                  <a:lnTo>
                    <a:pt x="10109" y="7003"/>
                  </a:lnTo>
                  <a:cubicBezTo>
                    <a:pt x="10037" y="6599"/>
                    <a:pt x="10037" y="6575"/>
                    <a:pt x="10263" y="6241"/>
                  </a:cubicBezTo>
                  <a:cubicBezTo>
                    <a:pt x="10573" y="5801"/>
                    <a:pt x="10597" y="5622"/>
                    <a:pt x="10287" y="5134"/>
                  </a:cubicBezTo>
                  <a:cubicBezTo>
                    <a:pt x="10085" y="4801"/>
                    <a:pt x="10097" y="4789"/>
                    <a:pt x="10180" y="4384"/>
                  </a:cubicBezTo>
                  <a:lnTo>
                    <a:pt x="10883" y="4122"/>
                  </a:lnTo>
                  <a:cubicBezTo>
                    <a:pt x="11156" y="4015"/>
                    <a:pt x="11287" y="3717"/>
                    <a:pt x="11180" y="3443"/>
                  </a:cubicBezTo>
                  <a:cubicBezTo>
                    <a:pt x="11097" y="3239"/>
                    <a:pt x="10898" y="3115"/>
                    <a:pt x="10690" y="3115"/>
                  </a:cubicBezTo>
                  <a:cubicBezTo>
                    <a:pt x="10631" y="3115"/>
                    <a:pt x="10571" y="3125"/>
                    <a:pt x="10513" y="3146"/>
                  </a:cubicBezTo>
                  <a:lnTo>
                    <a:pt x="9811" y="3420"/>
                  </a:lnTo>
                  <a:cubicBezTo>
                    <a:pt x="9466" y="3181"/>
                    <a:pt x="9454" y="3146"/>
                    <a:pt x="9394" y="2789"/>
                  </a:cubicBezTo>
                  <a:cubicBezTo>
                    <a:pt x="9311" y="2229"/>
                    <a:pt x="9156" y="2086"/>
                    <a:pt x="8620" y="1979"/>
                  </a:cubicBezTo>
                  <a:cubicBezTo>
                    <a:pt x="8251" y="1884"/>
                    <a:pt x="8239" y="1872"/>
                    <a:pt x="8013" y="1515"/>
                  </a:cubicBezTo>
                  <a:lnTo>
                    <a:pt x="8311" y="824"/>
                  </a:lnTo>
                  <a:cubicBezTo>
                    <a:pt x="8430" y="574"/>
                    <a:pt x="8311" y="264"/>
                    <a:pt x="8037" y="157"/>
                  </a:cubicBezTo>
                  <a:cubicBezTo>
                    <a:pt x="7971" y="126"/>
                    <a:pt x="7901" y="111"/>
                    <a:pt x="7831" y="111"/>
                  </a:cubicBezTo>
                  <a:cubicBezTo>
                    <a:pt x="7638" y="111"/>
                    <a:pt x="7449" y="226"/>
                    <a:pt x="7370" y="419"/>
                  </a:cubicBezTo>
                  <a:lnTo>
                    <a:pt x="7073" y="1110"/>
                  </a:lnTo>
                  <a:cubicBezTo>
                    <a:pt x="6927" y="1135"/>
                    <a:pt x="6831" y="1152"/>
                    <a:pt x="6751" y="1152"/>
                  </a:cubicBezTo>
                  <a:cubicBezTo>
                    <a:pt x="6611" y="1152"/>
                    <a:pt x="6524" y="1100"/>
                    <a:pt x="6311" y="955"/>
                  </a:cubicBezTo>
                  <a:lnTo>
                    <a:pt x="6180" y="872"/>
                  </a:lnTo>
                  <a:cubicBezTo>
                    <a:pt x="6152" y="853"/>
                    <a:pt x="6119" y="844"/>
                    <a:pt x="6087" y="844"/>
                  </a:cubicBezTo>
                  <a:cubicBezTo>
                    <a:pt x="6034" y="844"/>
                    <a:pt x="5983" y="868"/>
                    <a:pt x="5953" y="919"/>
                  </a:cubicBezTo>
                  <a:cubicBezTo>
                    <a:pt x="5918" y="991"/>
                    <a:pt x="5930" y="1098"/>
                    <a:pt x="6001" y="1134"/>
                  </a:cubicBezTo>
                  <a:lnTo>
                    <a:pt x="6132" y="1229"/>
                  </a:lnTo>
                  <a:cubicBezTo>
                    <a:pt x="6389" y="1406"/>
                    <a:pt x="6533" y="1474"/>
                    <a:pt x="6731" y="1474"/>
                  </a:cubicBezTo>
                  <a:cubicBezTo>
                    <a:pt x="6826" y="1474"/>
                    <a:pt x="6933" y="1458"/>
                    <a:pt x="7073" y="1431"/>
                  </a:cubicBezTo>
                  <a:cubicBezTo>
                    <a:pt x="7189" y="1411"/>
                    <a:pt x="7278" y="1397"/>
                    <a:pt x="7350" y="1397"/>
                  </a:cubicBezTo>
                  <a:cubicBezTo>
                    <a:pt x="7531" y="1397"/>
                    <a:pt x="7614" y="1481"/>
                    <a:pt x="7775" y="1753"/>
                  </a:cubicBezTo>
                  <a:cubicBezTo>
                    <a:pt x="8013" y="2122"/>
                    <a:pt x="8120" y="2193"/>
                    <a:pt x="8561" y="2300"/>
                  </a:cubicBezTo>
                  <a:cubicBezTo>
                    <a:pt x="8966" y="2384"/>
                    <a:pt x="9013" y="2419"/>
                    <a:pt x="9085" y="2848"/>
                  </a:cubicBezTo>
                  <a:cubicBezTo>
                    <a:pt x="9109" y="3015"/>
                    <a:pt x="9144" y="3181"/>
                    <a:pt x="9228" y="3324"/>
                  </a:cubicBezTo>
                  <a:cubicBezTo>
                    <a:pt x="9370" y="3551"/>
                    <a:pt x="9621" y="3658"/>
                    <a:pt x="9799" y="3812"/>
                  </a:cubicBezTo>
                  <a:cubicBezTo>
                    <a:pt x="9882" y="3908"/>
                    <a:pt x="9906" y="3932"/>
                    <a:pt x="9906" y="3955"/>
                  </a:cubicBezTo>
                  <a:cubicBezTo>
                    <a:pt x="9906" y="3955"/>
                    <a:pt x="9930" y="4015"/>
                    <a:pt x="9906" y="4193"/>
                  </a:cubicBezTo>
                  <a:cubicBezTo>
                    <a:pt x="9859" y="4444"/>
                    <a:pt x="9787" y="4634"/>
                    <a:pt x="9823" y="4860"/>
                  </a:cubicBezTo>
                  <a:cubicBezTo>
                    <a:pt x="9882" y="5194"/>
                    <a:pt x="10216" y="5467"/>
                    <a:pt x="10204" y="5694"/>
                  </a:cubicBezTo>
                  <a:cubicBezTo>
                    <a:pt x="10204" y="5920"/>
                    <a:pt x="9859" y="6170"/>
                    <a:pt x="9787" y="6515"/>
                  </a:cubicBezTo>
                  <a:cubicBezTo>
                    <a:pt x="9704" y="6813"/>
                    <a:pt x="9906" y="7241"/>
                    <a:pt x="9811" y="7420"/>
                  </a:cubicBezTo>
                  <a:cubicBezTo>
                    <a:pt x="9728" y="7611"/>
                    <a:pt x="9275" y="7777"/>
                    <a:pt x="9109" y="8015"/>
                  </a:cubicBezTo>
                  <a:cubicBezTo>
                    <a:pt x="8918" y="8277"/>
                    <a:pt x="8954" y="8718"/>
                    <a:pt x="8787" y="8873"/>
                  </a:cubicBezTo>
                  <a:cubicBezTo>
                    <a:pt x="8620" y="9027"/>
                    <a:pt x="8192" y="8980"/>
                    <a:pt x="7906" y="9158"/>
                  </a:cubicBezTo>
                  <a:cubicBezTo>
                    <a:pt x="7644" y="9325"/>
                    <a:pt x="7477" y="9754"/>
                    <a:pt x="7287" y="9825"/>
                  </a:cubicBezTo>
                  <a:cubicBezTo>
                    <a:pt x="7254" y="9840"/>
                    <a:pt x="7210" y="9846"/>
                    <a:pt x="7163" y="9846"/>
                  </a:cubicBezTo>
                  <a:cubicBezTo>
                    <a:pt x="7058" y="9846"/>
                    <a:pt x="6936" y="9818"/>
                    <a:pt x="6870" y="9801"/>
                  </a:cubicBezTo>
                  <a:cubicBezTo>
                    <a:pt x="6712" y="9764"/>
                    <a:pt x="6595" y="9744"/>
                    <a:pt x="6493" y="9744"/>
                  </a:cubicBezTo>
                  <a:cubicBezTo>
                    <a:pt x="6304" y="9744"/>
                    <a:pt x="6170" y="9813"/>
                    <a:pt x="5930" y="9968"/>
                  </a:cubicBezTo>
                  <a:cubicBezTo>
                    <a:pt x="5756" y="10072"/>
                    <a:pt x="5655" y="10126"/>
                    <a:pt x="5557" y="10126"/>
                  </a:cubicBezTo>
                  <a:cubicBezTo>
                    <a:pt x="5453" y="10126"/>
                    <a:pt x="5351" y="10066"/>
                    <a:pt x="5168" y="9944"/>
                  </a:cubicBezTo>
                  <a:cubicBezTo>
                    <a:pt x="4918" y="9767"/>
                    <a:pt x="4777" y="9704"/>
                    <a:pt x="4576" y="9704"/>
                  </a:cubicBezTo>
                  <a:cubicBezTo>
                    <a:pt x="4480" y="9704"/>
                    <a:pt x="4370" y="9719"/>
                    <a:pt x="4227" y="9742"/>
                  </a:cubicBezTo>
                  <a:cubicBezTo>
                    <a:pt x="4095" y="9764"/>
                    <a:pt x="4008" y="9771"/>
                    <a:pt x="3947" y="9771"/>
                  </a:cubicBezTo>
                  <a:cubicBezTo>
                    <a:pt x="3843" y="9771"/>
                    <a:pt x="3821" y="9749"/>
                    <a:pt x="3798" y="9742"/>
                  </a:cubicBezTo>
                  <a:cubicBezTo>
                    <a:pt x="3608" y="9647"/>
                    <a:pt x="3453" y="9218"/>
                    <a:pt x="3203" y="9039"/>
                  </a:cubicBezTo>
                  <a:cubicBezTo>
                    <a:pt x="2941" y="8849"/>
                    <a:pt x="2501" y="8873"/>
                    <a:pt x="2346" y="8718"/>
                  </a:cubicBezTo>
                  <a:cubicBezTo>
                    <a:pt x="2191" y="8551"/>
                    <a:pt x="2239" y="8123"/>
                    <a:pt x="2060" y="7837"/>
                  </a:cubicBezTo>
                  <a:cubicBezTo>
                    <a:pt x="1941" y="7646"/>
                    <a:pt x="1750" y="7551"/>
                    <a:pt x="1548" y="7384"/>
                  </a:cubicBezTo>
                  <a:cubicBezTo>
                    <a:pt x="1417" y="7265"/>
                    <a:pt x="1393" y="7206"/>
                    <a:pt x="1393" y="7206"/>
                  </a:cubicBezTo>
                  <a:cubicBezTo>
                    <a:pt x="1310" y="7015"/>
                    <a:pt x="1524" y="6599"/>
                    <a:pt x="1465" y="6301"/>
                  </a:cubicBezTo>
                  <a:cubicBezTo>
                    <a:pt x="1405" y="5979"/>
                    <a:pt x="1072" y="5694"/>
                    <a:pt x="1096" y="5467"/>
                  </a:cubicBezTo>
                  <a:cubicBezTo>
                    <a:pt x="1096" y="5241"/>
                    <a:pt x="1429" y="4991"/>
                    <a:pt x="1512" y="4646"/>
                  </a:cubicBezTo>
                  <a:cubicBezTo>
                    <a:pt x="1584" y="4336"/>
                    <a:pt x="1393" y="3932"/>
                    <a:pt x="1477" y="3741"/>
                  </a:cubicBezTo>
                  <a:cubicBezTo>
                    <a:pt x="1572" y="3551"/>
                    <a:pt x="2001" y="3396"/>
                    <a:pt x="2179" y="3146"/>
                  </a:cubicBezTo>
                  <a:cubicBezTo>
                    <a:pt x="2370" y="2884"/>
                    <a:pt x="2346" y="2443"/>
                    <a:pt x="2501" y="2288"/>
                  </a:cubicBezTo>
                  <a:cubicBezTo>
                    <a:pt x="2667" y="2134"/>
                    <a:pt x="3096" y="2181"/>
                    <a:pt x="3382" y="2003"/>
                  </a:cubicBezTo>
                  <a:cubicBezTo>
                    <a:pt x="3608" y="1872"/>
                    <a:pt x="3715" y="1610"/>
                    <a:pt x="3870" y="1431"/>
                  </a:cubicBezTo>
                  <a:cubicBezTo>
                    <a:pt x="3944" y="1357"/>
                    <a:pt x="3995" y="1320"/>
                    <a:pt x="4116" y="1320"/>
                  </a:cubicBezTo>
                  <a:cubicBezTo>
                    <a:pt x="4189" y="1320"/>
                    <a:pt x="4287" y="1333"/>
                    <a:pt x="4429" y="1360"/>
                  </a:cubicBezTo>
                  <a:cubicBezTo>
                    <a:pt x="4543" y="1395"/>
                    <a:pt x="4662" y="1417"/>
                    <a:pt x="4784" y="1417"/>
                  </a:cubicBezTo>
                  <a:cubicBezTo>
                    <a:pt x="4828" y="1417"/>
                    <a:pt x="4873" y="1414"/>
                    <a:pt x="4918" y="1407"/>
                  </a:cubicBezTo>
                  <a:cubicBezTo>
                    <a:pt x="5144" y="1360"/>
                    <a:pt x="5322" y="1217"/>
                    <a:pt x="5513" y="1110"/>
                  </a:cubicBezTo>
                  <a:cubicBezTo>
                    <a:pt x="5584" y="1062"/>
                    <a:pt x="5620" y="955"/>
                    <a:pt x="5572" y="884"/>
                  </a:cubicBezTo>
                  <a:cubicBezTo>
                    <a:pt x="5540" y="835"/>
                    <a:pt x="5479" y="802"/>
                    <a:pt x="5421" y="802"/>
                  </a:cubicBezTo>
                  <a:cubicBezTo>
                    <a:pt x="5395" y="802"/>
                    <a:pt x="5369" y="809"/>
                    <a:pt x="5346" y="824"/>
                  </a:cubicBezTo>
                  <a:cubicBezTo>
                    <a:pt x="5023" y="1010"/>
                    <a:pt x="4963" y="1086"/>
                    <a:pt x="4794" y="1086"/>
                  </a:cubicBezTo>
                  <a:cubicBezTo>
                    <a:pt x="4714" y="1086"/>
                    <a:pt x="4610" y="1069"/>
                    <a:pt x="4441" y="1038"/>
                  </a:cubicBezTo>
                  <a:lnTo>
                    <a:pt x="4167" y="336"/>
                  </a:lnTo>
                  <a:cubicBezTo>
                    <a:pt x="4095" y="127"/>
                    <a:pt x="3904" y="1"/>
                    <a:pt x="369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" name="Google Shape;367;p59"/>
            <p:cNvSpPr/>
            <p:nvPr/>
          </p:nvSpPr>
          <p:spPr>
            <a:xfrm>
              <a:off x="5466263" y="3032979"/>
              <a:ext cx="127101" cy="146214"/>
            </a:xfrm>
            <a:custGeom>
              <a:avLst/>
              <a:gdLst/>
              <a:ahLst/>
              <a:cxnLst/>
              <a:rect l="l" t="t" r="r" b="b"/>
              <a:pathLst>
                <a:path w="3990" h="4590" extrusionOk="0">
                  <a:moveTo>
                    <a:pt x="2681" y="1"/>
                  </a:moveTo>
                  <a:cubicBezTo>
                    <a:pt x="2422" y="1"/>
                    <a:pt x="2181" y="137"/>
                    <a:pt x="2120" y="428"/>
                  </a:cubicBezTo>
                  <a:cubicBezTo>
                    <a:pt x="2036" y="773"/>
                    <a:pt x="1941" y="1095"/>
                    <a:pt x="1786" y="1392"/>
                  </a:cubicBezTo>
                  <a:cubicBezTo>
                    <a:pt x="1739" y="1476"/>
                    <a:pt x="1786" y="1571"/>
                    <a:pt x="1858" y="1619"/>
                  </a:cubicBezTo>
                  <a:cubicBezTo>
                    <a:pt x="1881" y="1632"/>
                    <a:pt x="1905" y="1638"/>
                    <a:pt x="1929" y="1638"/>
                  </a:cubicBezTo>
                  <a:cubicBezTo>
                    <a:pt x="1991" y="1638"/>
                    <a:pt x="2050" y="1599"/>
                    <a:pt x="2084" y="1547"/>
                  </a:cubicBezTo>
                  <a:cubicBezTo>
                    <a:pt x="2251" y="1214"/>
                    <a:pt x="2358" y="880"/>
                    <a:pt x="2441" y="499"/>
                  </a:cubicBezTo>
                  <a:cubicBezTo>
                    <a:pt x="2466" y="387"/>
                    <a:pt x="2563" y="336"/>
                    <a:pt x="2676" y="336"/>
                  </a:cubicBezTo>
                  <a:cubicBezTo>
                    <a:pt x="2836" y="336"/>
                    <a:pt x="3028" y="439"/>
                    <a:pt x="3084" y="607"/>
                  </a:cubicBezTo>
                  <a:cubicBezTo>
                    <a:pt x="3287" y="1214"/>
                    <a:pt x="3632" y="2214"/>
                    <a:pt x="3072" y="3095"/>
                  </a:cubicBezTo>
                  <a:cubicBezTo>
                    <a:pt x="2512" y="3947"/>
                    <a:pt x="1615" y="4265"/>
                    <a:pt x="1007" y="4265"/>
                  </a:cubicBezTo>
                  <a:cubicBezTo>
                    <a:pt x="672" y="4265"/>
                    <a:pt x="425" y="4168"/>
                    <a:pt x="370" y="4012"/>
                  </a:cubicBezTo>
                  <a:cubicBezTo>
                    <a:pt x="334" y="3881"/>
                    <a:pt x="417" y="3678"/>
                    <a:pt x="643" y="3440"/>
                  </a:cubicBezTo>
                  <a:cubicBezTo>
                    <a:pt x="1060" y="2964"/>
                    <a:pt x="1405" y="2583"/>
                    <a:pt x="1679" y="2190"/>
                  </a:cubicBezTo>
                  <a:cubicBezTo>
                    <a:pt x="1739" y="2107"/>
                    <a:pt x="1715" y="2012"/>
                    <a:pt x="1644" y="1964"/>
                  </a:cubicBezTo>
                  <a:cubicBezTo>
                    <a:pt x="1611" y="1946"/>
                    <a:pt x="1576" y="1936"/>
                    <a:pt x="1542" y="1936"/>
                  </a:cubicBezTo>
                  <a:cubicBezTo>
                    <a:pt x="1488" y="1936"/>
                    <a:pt x="1439" y="1960"/>
                    <a:pt x="1417" y="2012"/>
                  </a:cubicBezTo>
                  <a:cubicBezTo>
                    <a:pt x="1143" y="2393"/>
                    <a:pt x="810" y="2762"/>
                    <a:pt x="405" y="3202"/>
                  </a:cubicBezTo>
                  <a:cubicBezTo>
                    <a:pt x="0" y="3607"/>
                    <a:pt x="0" y="3928"/>
                    <a:pt x="60" y="4119"/>
                  </a:cubicBezTo>
                  <a:cubicBezTo>
                    <a:pt x="171" y="4424"/>
                    <a:pt x="546" y="4589"/>
                    <a:pt x="1019" y="4589"/>
                  </a:cubicBezTo>
                  <a:cubicBezTo>
                    <a:pt x="1763" y="4589"/>
                    <a:pt x="2752" y="4179"/>
                    <a:pt x="3334" y="3262"/>
                  </a:cubicBezTo>
                  <a:cubicBezTo>
                    <a:pt x="3989" y="2250"/>
                    <a:pt x="3608" y="1095"/>
                    <a:pt x="3394" y="488"/>
                  </a:cubicBezTo>
                  <a:cubicBezTo>
                    <a:pt x="3287" y="172"/>
                    <a:pt x="2973" y="1"/>
                    <a:pt x="268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8" name="Google Shape;368;p59"/>
          <p:cNvSpPr/>
          <p:nvPr/>
        </p:nvSpPr>
        <p:spPr>
          <a:xfrm>
            <a:off x="5048603" y="2407210"/>
            <a:ext cx="496500" cy="496500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369" name="Google Shape;369;p59"/>
          <p:cNvCxnSpPr>
            <a:stCxn id="363" idx="4"/>
          </p:cNvCxnSpPr>
          <p:nvPr/>
        </p:nvCxnSpPr>
        <p:spPr>
          <a:xfrm>
            <a:off x="2801075" y="3840375"/>
            <a:ext cx="0" cy="1335000"/>
          </a:xfrm>
          <a:prstGeom prst="straightConnector1">
            <a:avLst/>
          </a:prstGeom>
          <a:noFill/>
          <a:ln w="19050" cap="flat" cmpd="sng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70" name="Google Shape;370;p59"/>
          <p:cNvCxnSpPr>
            <a:cxnSpLocks/>
            <a:stCxn id="368" idx="4"/>
          </p:cNvCxnSpPr>
          <p:nvPr/>
        </p:nvCxnSpPr>
        <p:spPr>
          <a:xfrm>
            <a:off x="5296853" y="2903710"/>
            <a:ext cx="0" cy="2255865"/>
          </a:xfrm>
          <a:prstGeom prst="straightConnector1">
            <a:avLst/>
          </a:prstGeom>
          <a:noFill/>
          <a:ln w="19050" cap="flat" cmpd="sng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71" name="Google Shape;371;p59"/>
          <p:cNvCxnSpPr>
            <a:cxnSpLocks/>
            <a:stCxn id="372" idx="4"/>
          </p:cNvCxnSpPr>
          <p:nvPr/>
        </p:nvCxnSpPr>
        <p:spPr>
          <a:xfrm>
            <a:off x="7792631" y="1975975"/>
            <a:ext cx="0" cy="3183600"/>
          </a:xfrm>
          <a:prstGeom prst="straightConnector1">
            <a:avLst/>
          </a:prstGeom>
          <a:noFill/>
          <a:ln w="19050" cap="flat" cmpd="sng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373" name="Google Shape;373;p59"/>
          <p:cNvGrpSpPr/>
          <p:nvPr/>
        </p:nvGrpSpPr>
        <p:grpSpPr>
          <a:xfrm>
            <a:off x="5213625" y="2502347"/>
            <a:ext cx="247351" cy="308374"/>
            <a:chOff x="8007400" y="2902278"/>
            <a:chExt cx="285230" cy="355597"/>
          </a:xfrm>
        </p:grpSpPr>
        <p:sp>
          <p:nvSpPr>
            <p:cNvPr id="374" name="Google Shape;374;p59"/>
            <p:cNvSpPr/>
            <p:nvPr/>
          </p:nvSpPr>
          <p:spPr>
            <a:xfrm>
              <a:off x="8134820" y="3165305"/>
              <a:ext cx="39851" cy="39851"/>
            </a:xfrm>
            <a:custGeom>
              <a:avLst/>
              <a:gdLst/>
              <a:ahLst/>
              <a:cxnLst/>
              <a:rect l="l" t="t" r="r" b="b"/>
              <a:pathLst>
                <a:path w="1251" h="1251" extrusionOk="0">
                  <a:moveTo>
                    <a:pt x="632" y="310"/>
                  </a:moveTo>
                  <a:cubicBezTo>
                    <a:pt x="799" y="310"/>
                    <a:pt x="930" y="441"/>
                    <a:pt x="930" y="608"/>
                  </a:cubicBezTo>
                  <a:cubicBezTo>
                    <a:pt x="930" y="775"/>
                    <a:pt x="799" y="906"/>
                    <a:pt x="632" y="906"/>
                  </a:cubicBezTo>
                  <a:cubicBezTo>
                    <a:pt x="465" y="906"/>
                    <a:pt x="334" y="775"/>
                    <a:pt x="334" y="608"/>
                  </a:cubicBezTo>
                  <a:cubicBezTo>
                    <a:pt x="334" y="441"/>
                    <a:pt x="465" y="310"/>
                    <a:pt x="632" y="310"/>
                  </a:cubicBezTo>
                  <a:close/>
                  <a:moveTo>
                    <a:pt x="632" y="1"/>
                  </a:moveTo>
                  <a:cubicBezTo>
                    <a:pt x="287" y="1"/>
                    <a:pt x="1" y="275"/>
                    <a:pt x="1" y="620"/>
                  </a:cubicBezTo>
                  <a:cubicBezTo>
                    <a:pt x="1" y="965"/>
                    <a:pt x="287" y="1251"/>
                    <a:pt x="632" y="1251"/>
                  </a:cubicBezTo>
                  <a:cubicBezTo>
                    <a:pt x="977" y="1251"/>
                    <a:pt x="1251" y="965"/>
                    <a:pt x="1251" y="620"/>
                  </a:cubicBezTo>
                  <a:cubicBezTo>
                    <a:pt x="1251" y="275"/>
                    <a:pt x="977" y="1"/>
                    <a:pt x="63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" name="Google Shape;375;p59"/>
            <p:cNvSpPr/>
            <p:nvPr/>
          </p:nvSpPr>
          <p:spPr>
            <a:xfrm>
              <a:off x="8007400" y="2902278"/>
              <a:ext cx="285230" cy="355597"/>
            </a:xfrm>
            <a:custGeom>
              <a:avLst/>
              <a:gdLst/>
              <a:ahLst/>
              <a:cxnLst/>
              <a:rect l="l" t="t" r="r" b="b"/>
              <a:pathLst>
                <a:path w="8954" h="11163" extrusionOk="0">
                  <a:moveTo>
                    <a:pt x="6528" y="337"/>
                  </a:moveTo>
                  <a:cubicBezTo>
                    <a:pt x="6549" y="337"/>
                    <a:pt x="6573" y="346"/>
                    <a:pt x="6596" y="364"/>
                  </a:cubicBezTo>
                  <a:lnTo>
                    <a:pt x="7632" y="1412"/>
                  </a:lnTo>
                  <a:cubicBezTo>
                    <a:pt x="7668" y="1435"/>
                    <a:pt x="7668" y="1483"/>
                    <a:pt x="7632" y="1519"/>
                  </a:cubicBezTo>
                  <a:lnTo>
                    <a:pt x="7489" y="1674"/>
                  </a:lnTo>
                  <a:cubicBezTo>
                    <a:pt x="7472" y="1691"/>
                    <a:pt x="7454" y="1700"/>
                    <a:pt x="7434" y="1700"/>
                  </a:cubicBezTo>
                  <a:cubicBezTo>
                    <a:pt x="7415" y="1700"/>
                    <a:pt x="7394" y="1691"/>
                    <a:pt x="7370" y="1674"/>
                  </a:cubicBezTo>
                  <a:lnTo>
                    <a:pt x="6323" y="626"/>
                  </a:lnTo>
                  <a:cubicBezTo>
                    <a:pt x="6299" y="590"/>
                    <a:pt x="6299" y="542"/>
                    <a:pt x="6323" y="519"/>
                  </a:cubicBezTo>
                  <a:lnTo>
                    <a:pt x="6477" y="364"/>
                  </a:lnTo>
                  <a:cubicBezTo>
                    <a:pt x="6489" y="346"/>
                    <a:pt x="6507" y="337"/>
                    <a:pt x="6528" y="337"/>
                  </a:cubicBezTo>
                  <a:close/>
                  <a:moveTo>
                    <a:pt x="6299" y="1066"/>
                  </a:moveTo>
                  <a:lnTo>
                    <a:pt x="7001" y="1769"/>
                  </a:lnTo>
                  <a:lnTo>
                    <a:pt x="6346" y="2424"/>
                  </a:lnTo>
                  <a:lnTo>
                    <a:pt x="5644" y="1721"/>
                  </a:lnTo>
                  <a:lnTo>
                    <a:pt x="6299" y="1066"/>
                  </a:lnTo>
                  <a:close/>
                  <a:moveTo>
                    <a:pt x="2155" y="4698"/>
                  </a:moveTo>
                  <a:lnTo>
                    <a:pt x="2453" y="4995"/>
                  </a:lnTo>
                  <a:lnTo>
                    <a:pt x="2215" y="5198"/>
                  </a:lnTo>
                  <a:cubicBezTo>
                    <a:pt x="2203" y="5216"/>
                    <a:pt x="2182" y="5225"/>
                    <a:pt x="2160" y="5225"/>
                  </a:cubicBezTo>
                  <a:cubicBezTo>
                    <a:pt x="2137" y="5225"/>
                    <a:pt x="2114" y="5216"/>
                    <a:pt x="2096" y="5198"/>
                  </a:cubicBezTo>
                  <a:lnTo>
                    <a:pt x="1941" y="5031"/>
                  </a:lnTo>
                  <a:cubicBezTo>
                    <a:pt x="1905" y="5007"/>
                    <a:pt x="1905" y="4948"/>
                    <a:pt x="1941" y="4924"/>
                  </a:cubicBezTo>
                  <a:lnTo>
                    <a:pt x="2155" y="4698"/>
                  </a:lnTo>
                  <a:close/>
                  <a:moveTo>
                    <a:pt x="2408" y="3865"/>
                  </a:moveTo>
                  <a:cubicBezTo>
                    <a:pt x="2416" y="3865"/>
                    <a:pt x="2422" y="3869"/>
                    <a:pt x="2429" y="3876"/>
                  </a:cubicBezTo>
                  <a:lnTo>
                    <a:pt x="2572" y="4031"/>
                  </a:lnTo>
                  <a:cubicBezTo>
                    <a:pt x="4203" y="5662"/>
                    <a:pt x="4144" y="5579"/>
                    <a:pt x="4108" y="5603"/>
                  </a:cubicBezTo>
                  <a:lnTo>
                    <a:pt x="3846" y="5876"/>
                  </a:lnTo>
                  <a:cubicBezTo>
                    <a:pt x="3842" y="5879"/>
                    <a:pt x="3839" y="5883"/>
                    <a:pt x="3835" y="5883"/>
                  </a:cubicBezTo>
                  <a:cubicBezTo>
                    <a:pt x="3804" y="5883"/>
                    <a:pt x="3678" y="5722"/>
                    <a:pt x="2120" y="4174"/>
                  </a:cubicBezTo>
                  <a:cubicBezTo>
                    <a:pt x="2096" y="4162"/>
                    <a:pt x="2096" y="4138"/>
                    <a:pt x="2120" y="4138"/>
                  </a:cubicBezTo>
                  <a:cubicBezTo>
                    <a:pt x="2328" y="3930"/>
                    <a:pt x="2378" y="3865"/>
                    <a:pt x="2408" y="3865"/>
                  </a:cubicBezTo>
                  <a:close/>
                  <a:moveTo>
                    <a:pt x="3025" y="5579"/>
                  </a:moveTo>
                  <a:lnTo>
                    <a:pt x="3322" y="5876"/>
                  </a:lnTo>
                  <a:lnTo>
                    <a:pt x="3084" y="6079"/>
                  </a:lnTo>
                  <a:cubicBezTo>
                    <a:pt x="3066" y="6097"/>
                    <a:pt x="3042" y="6106"/>
                    <a:pt x="3020" y="6106"/>
                  </a:cubicBezTo>
                  <a:cubicBezTo>
                    <a:pt x="2998" y="6106"/>
                    <a:pt x="2977" y="6097"/>
                    <a:pt x="2965" y="6079"/>
                  </a:cubicBezTo>
                  <a:lnTo>
                    <a:pt x="2798" y="5912"/>
                  </a:lnTo>
                  <a:cubicBezTo>
                    <a:pt x="2774" y="5888"/>
                    <a:pt x="2774" y="5829"/>
                    <a:pt x="2798" y="5793"/>
                  </a:cubicBezTo>
                  <a:lnTo>
                    <a:pt x="3025" y="5579"/>
                  </a:lnTo>
                  <a:close/>
                  <a:moveTo>
                    <a:pt x="3025" y="6936"/>
                  </a:moveTo>
                  <a:cubicBezTo>
                    <a:pt x="3072" y="6936"/>
                    <a:pt x="3096" y="6972"/>
                    <a:pt x="3096" y="7019"/>
                  </a:cubicBezTo>
                  <a:lnTo>
                    <a:pt x="3096" y="7269"/>
                  </a:lnTo>
                  <a:cubicBezTo>
                    <a:pt x="3096" y="7317"/>
                    <a:pt x="3072" y="7341"/>
                    <a:pt x="3025" y="7341"/>
                  </a:cubicBezTo>
                  <a:lnTo>
                    <a:pt x="405" y="7341"/>
                  </a:lnTo>
                  <a:cubicBezTo>
                    <a:pt x="369" y="7341"/>
                    <a:pt x="334" y="7305"/>
                    <a:pt x="334" y="7269"/>
                  </a:cubicBezTo>
                  <a:lnTo>
                    <a:pt x="334" y="7019"/>
                  </a:lnTo>
                  <a:cubicBezTo>
                    <a:pt x="334" y="6972"/>
                    <a:pt x="358" y="6936"/>
                    <a:pt x="405" y="6936"/>
                  </a:cubicBezTo>
                  <a:close/>
                  <a:moveTo>
                    <a:pt x="1834" y="7674"/>
                  </a:moveTo>
                  <a:cubicBezTo>
                    <a:pt x="2060" y="7960"/>
                    <a:pt x="2322" y="8210"/>
                    <a:pt x="2632" y="8401"/>
                  </a:cubicBezTo>
                  <a:cubicBezTo>
                    <a:pt x="2608" y="8448"/>
                    <a:pt x="2572" y="8496"/>
                    <a:pt x="2548" y="8520"/>
                  </a:cubicBezTo>
                  <a:cubicBezTo>
                    <a:pt x="2489" y="8591"/>
                    <a:pt x="2441" y="8663"/>
                    <a:pt x="2393" y="8746"/>
                  </a:cubicBezTo>
                  <a:cubicBezTo>
                    <a:pt x="2382" y="8770"/>
                    <a:pt x="2334" y="8805"/>
                    <a:pt x="2322" y="8853"/>
                  </a:cubicBezTo>
                  <a:cubicBezTo>
                    <a:pt x="1846" y="8555"/>
                    <a:pt x="1465" y="8151"/>
                    <a:pt x="1167" y="7674"/>
                  </a:cubicBezTo>
                  <a:close/>
                  <a:moveTo>
                    <a:pt x="4632" y="7793"/>
                  </a:moveTo>
                  <a:cubicBezTo>
                    <a:pt x="5870" y="7793"/>
                    <a:pt x="6846" y="8793"/>
                    <a:pt x="6918" y="9936"/>
                  </a:cubicBezTo>
                  <a:lnTo>
                    <a:pt x="2334" y="9936"/>
                  </a:lnTo>
                  <a:cubicBezTo>
                    <a:pt x="2417" y="8770"/>
                    <a:pt x="3406" y="7793"/>
                    <a:pt x="4632" y="7793"/>
                  </a:cubicBezTo>
                  <a:close/>
                  <a:moveTo>
                    <a:pt x="6525" y="1"/>
                  </a:moveTo>
                  <a:cubicBezTo>
                    <a:pt x="6421" y="1"/>
                    <a:pt x="6317" y="42"/>
                    <a:pt x="6239" y="126"/>
                  </a:cubicBezTo>
                  <a:lnTo>
                    <a:pt x="6084" y="269"/>
                  </a:lnTo>
                  <a:cubicBezTo>
                    <a:pt x="5942" y="423"/>
                    <a:pt x="5942" y="662"/>
                    <a:pt x="6073" y="804"/>
                  </a:cubicBezTo>
                  <a:lnTo>
                    <a:pt x="5406" y="1483"/>
                  </a:lnTo>
                  <a:lnTo>
                    <a:pt x="5251" y="1328"/>
                  </a:lnTo>
                  <a:cubicBezTo>
                    <a:pt x="5221" y="1299"/>
                    <a:pt x="5180" y="1284"/>
                    <a:pt x="5136" y="1284"/>
                  </a:cubicBezTo>
                  <a:cubicBezTo>
                    <a:pt x="5093" y="1284"/>
                    <a:pt x="5049" y="1299"/>
                    <a:pt x="5013" y="1328"/>
                  </a:cubicBezTo>
                  <a:lnTo>
                    <a:pt x="3977" y="2376"/>
                  </a:lnTo>
                  <a:cubicBezTo>
                    <a:pt x="3917" y="2436"/>
                    <a:pt x="3917" y="2531"/>
                    <a:pt x="3977" y="2614"/>
                  </a:cubicBezTo>
                  <a:cubicBezTo>
                    <a:pt x="4007" y="2644"/>
                    <a:pt x="4045" y="2659"/>
                    <a:pt x="4087" y="2659"/>
                  </a:cubicBezTo>
                  <a:cubicBezTo>
                    <a:pt x="4129" y="2659"/>
                    <a:pt x="4173" y="2644"/>
                    <a:pt x="4215" y="2614"/>
                  </a:cubicBezTo>
                  <a:lnTo>
                    <a:pt x="5132" y="1685"/>
                  </a:lnTo>
                  <a:lnTo>
                    <a:pt x="6299" y="2852"/>
                  </a:lnTo>
                  <a:lnTo>
                    <a:pt x="4060" y="5079"/>
                  </a:lnTo>
                  <a:lnTo>
                    <a:pt x="2905" y="3924"/>
                  </a:lnTo>
                  <a:lnTo>
                    <a:pt x="3739" y="3090"/>
                  </a:lnTo>
                  <a:cubicBezTo>
                    <a:pt x="3798" y="3031"/>
                    <a:pt x="3798" y="2924"/>
                    <a:pt x="3739" y="2864"/>
                  </a:cubicBezTo>
                  <a:cubicBezTo>
                    <a:pt x="3709" y="2834"/>
                    <a:pt x="3667" y="2820"/>
                    <a:pt x="3624" y="2820"/>
                  </a:cubicBezTo>
                  <a:cubicBezTo>
                    <a:pt x="3581" y="2820"/>
                    <a:pt x="3536" y="2834"/>
                    <a:pt x="3501" y="2864"/>
                  </a:cubicBezTo>
                  <a:lnTo>
                    <a:pt x="2667" y="3698"/>
                  </a:lnTo>
                  <a:lnTo>
                    <a:pt x="2632" y="3662"/>
                  </a:lnTo>
                  <a:cubicBezTo>
                    <a:pt x="2566" y="3596"/>
                    <a:pt x="2477" y="3564"/>
                    <a:pt x="2388" y="3564"/>
                  </a:cubicBezTo>
                  <a:cubicBezTo>
                    <a:pt x="2298" y="3564"/>
                    <a:pt x="2209" y="3596"/>
                    <a:pt x="2143" y="3662"/>
                  </a:cubicBezTo>
                  <a:lnTo>
                    <a:pt x="1870" y="3936"/>
                  </a:lnTo>
                  <a:cubicBezTo>
                    <a:pt x="1739" y="4067"/>
                    <a:pt x="1739" y="4293"/>
                    <a:pt x="1870" y="4424"/>
                  </a:cubicBezTo>
                  <a:lnTo>
                    <a:pt x="1905" y="4460"/>
                  </a:lnTo>
                  <a:cubicBezTo>
                    <a:pt x="1751" y="4638"/>
                    <a:pt x="1548" y="4722"/>
                    <a:pt x="1548" y="4972"/>
                  </a:cubicBezTo>
                  <a:cubicBezTo>
                    <a:pt x="1548" y="5079"/>
                    <a:pt x="1596" y="5186"/>
                    <a:pt x="1667" y="5269"/>
                  </a:cubicBezTo>
                  <a:cubicBezTo>
                    <a:pt x="1786" y="5376"/>
                    <a:pt x="1870" y="5555"/>
                    <a:pt x="2132" y="5555"/>
                  </a:cubicBezTo>
                  <a:cubicBezTo>
                    <a:pt x="2382" y="5555"/>
                    <a:pt x="2465" y="5353"/>
                    <a:pt x="2644" y="5198"/>
                  </a:cubicBezTo>
                  <a:lnTo>
                    <a:pt x="2763" y="5317"/>
                  </a:lnTo>
                  <a:cubicBezTo>
                    <a:pt x="2620" y="5495"/>
                    <a:pt x="2405" y="5591"/>
                    <a:pt x="2405" y="5841"/>
                  </a:cubicBezTo>
                  <a:cubicBezTo>
                    <a:pt x="2405" y="6079"/>
                    <a:pt x="2608" y="6186"/>
                    <a:pt x="2691" y="6305"/>
                  </a:cubicBezTo>
                  <a:cubicBezTo>
                    <a:pt x="2763" y="6377"/>
                    <a:pt x="2870" y="6424"/>
                    <a:pt x="2989" y="6424"/>
                  </a:cubicBezTo>
                  <a:cubicBezTo>
                    <a:pt x="3239" y="6424"/>
                    <a:pt x="3334" y="6210"/>
                    <a:pt x="3513" y="6067"/>
                  </a:cubicBezTo>
                  <a:cubicBezTo>
                    <a:pt x="3525" y="6079"/>
                    <a:pt x="3620" y="6198"/>
                    <a:pt x="3798" y="6198"/>
                  </a:cubicBezTo>
                  <a:cubicBezTo>
                    <a:pt x="3882" y="6198"/>
                    <a:pt x="3977" y="6162"/>
                    <a:pt x="4048" y="6091"/>
                  </a:cubicBezTo>
                  <a:lnTo>
                    <a:pt x="4310" y="5829"/>
                  </a:lnTo>
                  <a:cubicBezTo>
                    <a:pt x="4453" y="5686"/>
                    <a:pt x="4453" y="5472"/>
                    <a:pt x="4310" y="5329"/>
                  </a:cubicBezTo>
                  <a:lnTo>
                    <a:pt x="4287" y="5305"/>
                  </a:lnTo>
                  <a:lnTo>
                    <a:pt x="6239" y="3352"/>
                  </a:lnTo>
                  <a:cubicBezTo>
                    <a:pt x="6930" y="3924"/>
                    <a:pt x="7335" y="4733"/>
                    <a:pt x="7335" y="5626"/>
                  </a:cubicBezTo>
                  <a:cubicBezTo>
                    <a:pt x="7335" y="6555"/>
                    <a:pt x="6906" y="7412"/>
                    <a:pt x="6156" y="7984"/>
                  </a:cubicBezTo>
                  <a:cubicBezTo>
                    <a:pt x="5690" y="7638"/>
                    <a:pt x="5153" y="7470"/>
                    <a:pt x="4619" y="7470"/>
                  </a:cubicBezTo>
                  <a:cubicBezTo>
                    <a:pt x="3993" y="7470"/>
                    <a:pt x="3371" y="7701"/>
                    <a:pt x="2870" y="8151"/>
                  </a:cubicBezTo>
                  <a:cubicBezTo>
                    <a:pt x="2644" y="8008"/>
                    <a:pt x="2453" y="7853"/>
                    <a:pt x="2274" y="7650"/>
                  </a:cubicBezTo>
                  <a:lnTo>
                    <a:pt x="3025" y="7650"/>
                  </a:lnTo>
                  <a:cubicBezTo>
                    <a:pt x="3239" y="7650"/>
                    <a:pt x="3417" y="7472"/>
                    <a:pt x="3417" y="7258"/>
                  </a:cubicBezTo>
                  <a:lnTo>
                    <a:pt x="3417" y="6996"/>
                  </a:lnTo>
                  <a:cubicBezTo>
                    <a:pt x="3417" y="6781"/>
                    <a:pt x="3239" y="6603"/>
                    <a:pt x="3025" y="6603"/>
                  </a:cubicBezTo>
                  <a:lnTo>
                    <a:pt x="405" y="6603"/>
                  </a:lnTo>
                  <a:cubicBezTo>
                    <a:pt x="179" y="6603"/>
                    <a:pt x="0" y="6781"/>
                    <a:pt x="0" y="6996"/>
                  </a:cubicBezTo>
                  <a:lnTo>
                    <a:pt x="0" y="7258"/>
                  </a:lnTo>
                  <a:cubicBezTo>
                    <a:pt x="0" y="7472"/>
                    <a:pt x="179" y="7650"/>
                    <a:pt x="405" y="7650"/>
                  </a:cubicBezTo>
                  <a:lnTo>
                    <a:pt x="774" y="7650"/>
                  </a:lnTo>
                  <a:cubicBezTo>
                    <a:pt x="1036" y="8162"/>
                    <a:pt x="1548" y="8722"/>
                    <a:pt x="2191" y="9127"/>
                  </a:cubicBezTo>
                  <a:cubicBezTo>
                    <a:pt x="2084" y="9377"/>
                    <a:pt x="2036" y="9651"/>
                    <a:pt x="2012" y="9936"/>
                  </a:cubicBezTo>
                  <a:lnTo>
                    <a:pt x="846" y="9936"/>
                  </a:lnTo>
                  <a:cubicBezTo>
                    <a:pt x="774" y="9936"/>
                    <a:pt x="715" y="9972"/>
                    <a:pt x="703" y="10032"/>
                  </a:cubicBezTo>
                  <a:lnTo>
                    <a:pt x="346" y="10948"/>
                  </a:lnTo>
                  <a:cubicBezTo>
                    <a:pt x="298" y="11044"/>
                    <a:pt x="381" y="11163"/>
                    <a:pt x="488" y="11163"/>
                  </a:cubicBezTo>
                  <a:lnTo>
                    <a:pt x="1393" y="11163"/>
                  </a:lnTo>
                  <a:cubicBezTo>
                    <a:pt x="1489" y="11163"/>
                    <a:pt x="1560" y="11091"/>
                    <a:pt x="1560" y="11008"/>
                  </a:cubicBezTo>
                  <a:cubicBezTo>
                    <a:pt x="1560" y="10913"/>
                    <a:pt x="1489" y="10841"/>
                    <a:pt x="1393" y="10841"/>
                  </a:cubicBezTo>
                  <a:lnTo>
                    <a:pt x="739" y="10841"/>
                  </a:lnTo>
                  <a:lnTo>
                    <a:pt x="965" y="10258"/>
                  </a:lnTo>
                  <a:lnTo>
                    <a:pt x="8299" y="10258"/>
                  </a:lnTo>
                  <a:lnTo>
                    <a:pt x="8525" y="10841"/>
                  </a:lnTo>
                  <a:lnTo>
                    <a:pt x="2167" y="10841"/>
                  </a:lnTo>
                  <a:cubicBezTo>
                    <a:pt x="2084" y="10841"/>
                    <a:pt x="2012" y="10913"/>
                    <a:pt x="2012" y="11008"/>
                  </a:cubicBezTo>
                  <a:cubicBezTo>
                    <a:pt x="2012" y="11091"/>
                    <a:pt x="2084" y="11163"/>
                    <a:pt x="2167" y="11163"/>
                  </a:cubicBezTo>
                  <a:lnTo>
                    <a:pt x="8763" y="11163"/>
                  </a:lnTo>
                  <a:cubicBezTo>
                    <a:pt x="8882" y="11163"/>
                    <a:pt x="8954" y="11044"/>
                    <a:pt x="8918" y="10948"/>
                  </a:cubicBezTo>
                  <a:lnTo>
                    <a:pt x="8561" y="10044"/>
                  </a:lnTo>
                  <a:cubicBezTo>
                    <a:pt x="8525" y="9984"/>
                    <a:pt x="8466" y="9936"/>
                    <a:pt x="8406" y="9936"/>
                  </a:cubicBezTo>
                  <a:lnTo>
                    <a:pt x="7251" y="9936"/>
                  </a:lnTo>
                  <a:cubicBezTo>
                    <a:pt x="7216" y="9555"/>
                    <a:pt x="7132" y="9198"/>
                    <a:pt x="6965" y="8889"/>
                  </a:cubicBezTo>
                  <a:cubicBezTo>
                    <a:pt x="7847" y="8210"/>
                    <a:pt x="8430" y="7174"/>
                    <a:pt x="8525" y="6067"/>
                  </a:cubicBezTo>
                  <a:cubicBezTo>
                    <a:pt x="8537" y="5972"/>
                    <a:pt x="8466" y="5900"/>
                    <a:pt x="8382" y="5888"/>
                  </a:cubicBezTo>
                  <a:cubicBezTo>
                    <a:pt x="8371" y="5886"/>
                    <a:pt x="8360" y="5884"/>
                    <a:pt x="8350" y="5884"/>
                  </a:cubicBezTo>
                  <a:cubicBezTo>
                    <a:pt x="8271" y="5884"/>
                    <a:pt x="8214" y="5958"/>
                    <a:pt x="8204" y="6031"/>
                  </a:cubicBezTo>
                  <a:cubicBezTo>
                    <a:pt x="8097" y="7043"/>
                    <a:pt x="7597" y="7972"/>
                    <a:pt x="6799" y="8603"/>
                  </a:cubicBezTo>
                  <a:cubicBezTo>
                    <a:pt x="6751" y="8543"/>
                    <a:pt x="6715" y="8508"/>
                    <a:pt x="6668" y="8460"/>
                  </a:cubicBezTo>
                  <a:cubicBezTo>
                    <a:pt x="6608" y="8389"/>
                    <a:pt x="6537" y="8293"/>
                    <a:pt x="6454" y="8222"/>
                  </a:cubicBezTo>
                  <a:lnTo>
                    <a:pt x="6430" y="8186"/>
                  </a:lnTo>
                  <a:cubicBezTo>
                    <a:pt x="8037" y="6912"/>
                    <a:pt x="8097" y="4460"/>
                    <a:pt x="6477" y="3114"/>
                  </a:cubicBezTo>
                  <a:lnTo>
                    <a:pt x="6632" y="2948"/>
                  </a:lnTo>
                  <a:cubicBezTo>
                    <a:pt x="6692" y="2888"/>
                    <a:pt x="6692" y="2793"/>
                    <a:pt x="6632" y="2733"/>
                  </a:cubicBezTo>
                  <a:lnTo>
                    <a:pt x="6561" y="2650"/>
                  </a:lnTo>
                  <a:lnTo>
                    <a:pt x="6656" y="2567"/>
                  </a:lnTo>
                  <a:cubicBezTo>
                    <a:pt x="7013" y="2793"/>
                    <a:pt x="7489" y="3305"/>
                    <a:pt x="7799" y="3900"/>
                  </a:cubicBezTo>
                  <a:cubicBezTo>
                    <a:pt x="8037" y="4352"/>
                    <a:pt x="8168" y="4876"/>
                    <a:pt x="8216" y="5376"/>
                  </a:cubicBezTo>
                  <a:cubicBezTo>
                    <a:pt x="8216" y="5465"/>
                    <a:pt x="8287" y="5532"/>
                    <a:pt x="8373" y="5532"/>
                  </a:cubicBezTo>
                  <a:cubicBezTo>
                    <a:pt x="8380" y="5532"/>
                    <a:pt x="8387" y="5532"/>
                    <a:pt x="8394" y="5531"/>
                  </a:cubicBezTo>
                  <a:cubicBezTo>
                    <a:pt x="8478" y="5531"/>
                    <a:pt x="8561" y="5436"/>
                    <a:pt x="8537" y="5353"/>
                  </a:cubicBezTo>
                  <a:cubicBezTo>
                    <a:pt x="8454" y="4138"/>
                    <a:pt x="7858" y="3055"/>
                    <a:pt x="6894" y="2328"/>
                  </a:cubicBezTo>
                  <a:lnTo>
                    <a:pt x="7251" y="1971"/>
                  </a:lnTo>
                  <a:cubicBezTo>
                    <a:pt x="7317" y="2002"/>
                    <a:pt x="7384" y="2017"/>
                    <a:pt x="7446" y="2017"/>
                  </a:cubicBezTo>
                  <a:cubicBezTo>
                    <a:pt x="7551" y="2017"/>
                    <a:pt x="7644" y="1975"/>
                    <a:pt x="7704" y="1900"/>
                  </a:cubicBezTo>
                  <a:lnTo>
                    <a:pt x="7858" y="1745"/>
                  </a:lnTo>
                  <a:cubicBezTo>
                    <a:pt x="8025" y="1578"/>
                    <a:pt x="8025" y="1328"/>
                    <a:pt x="7858" y="1162"/>
                  </a:cubicBezTo>
                  <a:lnTo>
                    <a:pt x="6811" y="126"/>
                  </a:lnTo>
                  <a:cubicBezTo>
                    <a:pt x="6733" y="42"/>
                    <a:pt x="6629" y="1"/>
                    <a:pt x="652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72" name="Google Shape;372;p59"/>
          <p:cNvSpPr/>
          <p:nvPr/>
        </p:nvSpPr>
        <p:spPr>
          <a:xfrm>
            <a:off x="7544381" y="1479475"/>
            <a:ext cx="496500" cy="496500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76" name="Google Shape;376;p59"/>
          <p:cNvGrpSpPr/>
          <p:nvPr/>
        </p:nvGrpSpPr>
        <p:grpSpPr>
          <a:xfrm>
            <a:off x="7629902" y="1568285"/>
            <a:ext cx="325639" cy="319065"/>
            <a:chOff x="6657194" y="2434073"/>
            <a:chExt cx="375507" cy="367925"/>
          </a:xfrm>
        </p:grpSpPr>
        <p:sp>
          <p:nvSpPr>
            <p:cNvPr id="377" name="Google Shape;377;p59"/>
            <p:cNvSpPr/>
            <p:nvPr/>
          </p:nvSpPr>
          <p:spPr>
            <a:xfrm>
              <a:off x="6657194" y="2434073"/>
              <a:ext cx="190780" cy="367925"/>
            </a:xfrm>
            <a:custGeom>
              <a:avLst/>
              <a:gdLst/>
              <a:ahLst/>
              <a:cxnLst/>
              <a:rect l="l" t="t" r="r" b="b"/>
              <a:pathLst>
                <a:path w="5989" h="11550" extrusionOk="0">
                  <a:moveTo>
                    <a:pt x="3024" y="346"/>
                  </a:moveTo>
                  <a:cubicBezTo>
                    <a:pt x="4465" y="346"/>
                    <a:pt x="5644" y="1524"/>
                    <a:pt x="5644" y="2965"/>
                  </a:cubicBezTo>
                  <a:lnTo>
                    <a:pt x="5644" y="5596"/>
                  </a:lnTo>
                  <a:lnTo>
                    <a:pt x="2977" y="5596"/>
                  </a:lnTo>
                  <a:cubicBezTo>
                    <a:pt x="2893" y="5596"/>
                    <a:pt x="2810" y="5668"/>
                    <a:pt x="2810" y="5763"/>
                  </a:cubicBezTo>
                  <a:cubicBezTo>
                    <a:pt x="2810" y="5846"/>
                    <a:pt x="2893" y="5930"/>
                    <a:pt x="2977" y="5930"/>
                  </a:cubicBezTo>
                  <a:lnTo>
                    <a:pt x="5644" y="5930"/>
                  </a:lnTo>
                  <a:lnTo>
                    <a:pt x="5644" y="8561"/>
                  </a:lnTo>
                  <a:cubicBezTo>
                    <a:pt x="5644" y="10002"/>
                    <a:pt x="4465" y="11180"/>
                    <a:pt x="3024" y="11180"/>
                  </a:cubicBezTo>
                  <a:lnTo>
                    <a:pt x="2965" y="11180"/>
                  </a:lnTo>
                  <a:cubicBezTo>
                    <a:pt x="1524" y="11180"/>
                    <a:pt x="345" y="10002"/>
                    <a:pt x="345" y="8561"/>
                  </a:cubicBezTo>
                  <a:lnTo>
                    <a:pt x="345" y="5930"/>
                  </a:lnTo>
                  <a:lnTo>
                    <a:pt x="2119" y="5930"/>
                  </a:lnTo>
                  <a:cubicBezTo>
                    <a:pt x="2203" y="5930"/>
                    <a:pt x="2274" y="5846"/>
                    <a:pt x="2274" y="5763"/>
                  </a:cubicBezTo>
                  <a:cubicBezTo>
                    <a:pt x="2274" y="5668"/>
                    <a:pt x="2203" y="5596"/>
                    <a:pt x="2119" y="5596"/>
                  </a:cubicBezTo>
                  <a:lnTo>
                    <a:pt x="345" y="5596"/>
                  </a:lnTo>
                  <a:lnTo>
                    <a:pt x="345" y="2965"/>
                  </a:lnTo>
                  <a:cubicBezTo>
                    <a:pt x="345" y="1524"/>
                    <a:pt x="1524" y="346"/>
                    <a:pt x="2965" y="346"/>
                  </a:cubicBezTo>
                  <a:close/>
                  <a:moveTo>
                    <a:pt x="2965" y="0"/>
                  </a:moveTo>
                  <a:cubicBezTo>
                    <a:pt x="1322" y="0"/>
                    <a:pt x="0" y="1322"/>
                    <a:pt x="0" y="2965"/>
                  </a:cubicBezTo>
                  <a:lnTo>
                    <a:pt x="0" y="8585"/>
                  </a:lnTo>
                  <a:cubicBezTo>
                    <a:pt x="0" y="10228"/>
                    <a:pt x="1322" y="11550"/>
                    <a:pt x="2965" y="11550"/>
                  </a:cubicBezTo>
                  <a:lnTo>
                    <a:pt x="3024" y="11550"/>
                  </a:lnTo>
                  <a:cubicBezTo>
                    <a:pt x="4655" y="11550"/>
                    <a:pt x="5989" y="10228"/>
                    <a:pt x="5989" y="8585"/>
                  </a:cubicBezTo>
                  <a:lnTo>
                    <a:pt x="5989" y="2953"/>
                  </a:lnTo>
                  <a:cubicBezTo>
                    <a:pt x="5965" y="1322"/>
                    <a:pt x="4644" y="0"/>
                    <a:pt x="302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" name="Google Shape;378;p59"/>
            <p:cNvSpPr/>
            <p:nvPr/>
          </p:nvSpPr>
          <p:spPr>
            <a:xfrm>
              <a:off x="6854409" y="2464399"/>
              <a:ext cx="178292" cy="162365"/>
            </a:xfrm>
            <a:custGeom>
              <a:avLst/>
              <a:gdLst/>
              <a:ahLst/>
              <a:cxnLst/>
              <a:rect l="l" t="t" r="r" b="b"/>
              <a:pathLst>
                <a:path w="5597" h="5097" extrusionOk="0">
                  <a:moveTo>
                    <a:pt x="2807" y="346"/>
                  </a:moveTo>
                  <a:cubicBezTo>
                    <a:pt x="3371" y="346"/>
                    <a:pt x="3933" y="564"/>
                    <a:pt x="4358" y="1001"/>
                  </a:cubicBezTo>
                  <a:cubicBezTo>
                    <a:pt x="5180" y="1835"/>
                    <a:pt x="5227" y="3132"/>
                    <a:pt x="4477" y="3990"/>
                  </a:cubicBezTo>
                  <a:lnTo>
                    <a:pt x="3441" y="2954"/>
                  </a:lnTo>
                  <a:cubicBezTo>
                    <a:pt x="3411" y="2924"/>
                    <a:pt x="3367" y="2909"/>
                    <a:pt x="3322" y="2909"/>
                  </a:cubicBezTo>
                  <a:cubicBezTo>
                    <a:pt x="3278" y="2909"/>
                    <a:pt x="3233" y="2924"/>
                    <a:pt x="3203" y="2954"/>
                  </a:cubicBezTo>
                  <a:cubicBezTo>
                    <a:pt x="3144" y="3013"/>
                    <a:pt x="3144" y="3132"/>
                    <a:pt x="3203" y="3192"/>
                  </a:cubicBezTo>
                  <a:lnTo>
                    <a:pt x="4239" y="4228"/>
                  </a:lnTo>
                  <a:cubicBezTo>
                    <a:pt x="3831" y="4584"/>
                    <a:pt x="3321" y="4763"/>
                    <a:pt x="2810" y="4763"/>
                  </a:cubicBezTo>
                  <a:cubicBezTo>
                    <a:pt x="2246" y="4763"/>
                    <a:pt x="1681" y="4546"/>
                    <a:pt x="1250" y="4109"/>
                  </a:cubicBezTo>
                  <a:cubicBezTo>
                    <a:pt x="417" y="3287"/>
                    <a:pt x="393" y="1977"/>
                    <a:pt x="1131" y="1120"/>
                  </a:cubicBezTo>
                  <a:lnTo>
                    <a:pt x="1131" y="1120"/>
                  </a:lnTo>
                  <a:lnTo>
                    <a:pt x="2679" y="2668"/>
                  </a:lnTo>
                  <a:cubicBezTo>
                    <a:pt x="2709" y="2698"/>
                    <a:pt x="2754" y="2713"/>
                    <a:pt x="2798" y="2713"/>
                  </a:cubicBezTo>
                  <a:cubicBezTo>
                    <a:pt x="2843" y="2713"/>
                    <a:pt x="2888" y="2698"/>
                    <a:pt x="2917" y="2668"/>
                  </a:cubicBezTo>
                  <a:cubicBezTo>
                    <a:pt x="2977" y="2608"/>
                    <a:pt x="2977" y="2489"/>
                    <a:pt x="2917" y="2430"/>
                  </a:cubicBezTo>
                  <a:lnTo>
                    <a:pt x="1370" y="882"/>
                  </a:lnTo>
                  <a:cubicBezTo>
                    <a:pt x="1783" y="525"/>
                    <a:pt x="2296" y="346"/>
                    <a:pt x="2807" y="346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7"/>
                    <a:pt x="1000" y="4347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7"/>
                  </a:cubicBezTo>
                  <a:cubicBezTo>
                    <a:pt x="5596" y="3347"/>
                    <a:pt x="5596" y="1739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" name="Google Shape;379;p59"/>
            <p:cNvSpPr/>
            <p:nvPr/>
          </p:nvSpPr>
          <p:spPr>
            <a:xfrm>
              <a:off x="6854409" y="2631288"/>
              <a:ext cx="177528" cy="162365"/>
            </a:xfrm>
            <a:custGeom>
              <a:avLst/>
              <a:gdLst/>
              <a:ahLst/>
              <a:cxnLst/>
              <a:rect l="l" t="t" r="r" b="b"/>
              <a:pathLst>
                <a:path w="5573" h="5097" extrusionOk="0">
                  <a:moveTo>
                    <a:pt x="2805" y="338"/>
                  </a:moveTo>
                  <a:cubicBezTo>
                    <a:pt x="3314" y="338"/>
                    <a:pt x="3821" y="515"/>
                    <a:pt x="4227" y="870"/>
                  </a:cubicBezTo>
                  <a:lnTo>
                    <a:pt x="1120" y="3977"/>
                  </a:lnTo>
                  <a:cubicBezTo>
                    <a:pt x="393" y="3108"/>
                    <a:pt x="417" y="1799"/>
                    <a:pt x="1239" y="989"/>
                  </a:cubicBezTo>
                  <a:cubicBezTo>
                    <a:pt x="1671" y="556"/>
                    <a:pt x="2239" y="338"/>
                    <a:pt x="2805" y="338"/>
                  </a:cubicBezTo>
                  <a:close/>
                  <a:moveTo>
                    <a:pt x="2803" y="1"/>
                  </a:moveTo>
                  <a:cubicBezTo>
                    <a:pt x="2152" y="1"/>
                    <a:pt x="1501" y="251"/>
                    <a:pt x="1000" y="751"/>
                  </a:cubicBezTo>
                  <a:cubicBezTo>
                    <a:pt x="0" y="1739"/>
                    <a:pt x="0" y="3346"/>
                    <a:pt x="1000" y="4346"/>
                  </a:cubicBezTo>
                  <a:cubicBezTo>
                    <a:pt x="1501" y="4847"/>
                    <a:pt x="2152" y="5097"/>
                    <a:pt x="2803" y="5097"/>
                  </a:cubicBezTo>
                  <a:cubicBezTo>
                    <a:pt x="3453" y="5097"/>
                    <a:pt x="4102" y="4847"/>
                    <a:pt x="4596" y="4346"/>
                  </a:cubicBezTo>
                  <a:cubicBezTo>
                    <a:pt x="4656" y="4287"/>
                    <a:pt x="4656" y="4168"/>
                    <a:pt x="4596" y="4108"/>
                  </a:cubicBezTo>
                  <a:cubicBezTo>
                    <a:pt x="4566" y="4079"/>
                    <a:pt x="4522" y="4064"/>
                    <a:pt x="4477" y="4064"/>
                  </a:cubicBezTo>
                  <a:cubicBezTo>
                    <a:pt x="4432" y="4064"/>
                    <a:pt x="4388" y="4079"/>
                    <a:pt x="4358" y="4108"/>
                  </a:cubicBezTo>
                  <a:cubicBezTo>
                    <a:pt x="3933" y="4540"/>
                    <a:pt x="3370" y="4754"/>
                    <a:pt x="2806" y="4754"/>
                  </a:cubicBezTo>
                  <a:cubicBezTo>
                    <a:pt x="2295" y="4754"/>
                    <a:pt x="1783" y="4578"/>
                    <a:pt x="1370" y="4227"/>
                  </a:cubicBezTo>
                  <a:lnTo>
                    <a:pt x="2417" y="3180"/>
                  </a:lnTo>
                  <a:lnTo>
                    <a:pt x="4477" y="1120"/>
                  </a:lnTo>
                  <a:cubicBezTo>
                    <a:pt x="5060" y="1799"/>
                    <a:pt x="5180" y="2775"/>
                    <a:pt x="4763" y="3573"/>
                  </a:cubicBezTo>
                  <a:cubicBezTo>
                    <a:pt x="4715" y="3668"/>
                    <a:pt x="4751" y="3751"/>
                    <a:pt x="4834" y="3799"/>
                  </a:cubicBezTo>
                  <a:cubicBezTo>
                    <a:pt x="4863" y="3813"/>
                    <a:pt x="4890" y="3820"/>
                    <a:pt x="4916" y="3820"/>
                  </a:cubicBezTo>
                  <a:cubicBezTo>
                    <a:pt x="4976" y="3820"/>
                    <a:pt x="5027" y="3782"/>
                    <a:pt x="5060" y="3715"/>
                  </a:cubicBezTo>
                  <a:cubicBezTo>
                    <a:pt x="5572" y="2739"/>
                    <a:pt x="5406" y="1537"/>
                    <a:pt x="4596" y="751"/>
                  </a:cubicBezTo>
                  <a:cubicBezTo>
                    <a:pt x="4102" y="251"/>
                    <a:pt x="3453" y="1"/>
                    <a:pt x="28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cxnSp>
        <p:nvCxnSpPr>
          <p:cNvPr id="380" name="Google Shape;380;p59"/>
          <p:cNvCxnSpPr/>
          <p:nvPr/>
        </p:nvCxnSpPr>
        <p:spPr>
          <a:xfrm>
            <a:off x="916600" y="962050"/>
            <a:ext cx="3035100" cy="0"/>
          </a:xfrm>
          <a:prstGeom prst="straightConnector1">
            <a:avLst/>
          </a:prstGeom>
          <a:noFill/>
          <a:ln w="19050" cap="flat" cmpd="sng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4EE8139-2C16-47AE-B080-E50CF4A9C2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7371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4EE8139-2C16-47AE-B080-E50CF4A9C2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0" name="Google Shape;480;p66"/>
          <p:cNvSpPr txBox="1">
            <a:spLocks noGrp="1"/>
          </p:cNvSpPr>
          <p:nvPr>
            <p:ph type="title"/>
          </p:nvPr>
        </p:nvSpPr>
        <p:spPr>
          <a:xfrm>
            <a:off x="818250" y="459775"/>
            <a:ext cx="75075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_tradnl" dirty="0">
                <a:solidFill>
                  <a:srgbClr val="002060"/>
                </a:solidFill>
              </a:rPr>
              <a:t>RESULTADOS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485" name="Google Shape;485;p66"/>
          <p:cNvSpPr txBox="1">
            <a:spLocks noGrp="1"/>
          </p:cNvSpPr>
          <p:nvPr>
            <p:ph type="title" idx="5"/>
          </p:nvPr>
        </p:nvSpPr>
        <p:spPr>
          <a:xfrm>
            <a:off x="1667658" y="1223813"/>
            <a:ext cx="1559060" cy="5727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002060"/>
                </a:solidFill>
              </a:rPr>
              <a:t>EVALUACION DEL MODELO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486" name="Google Shape;486;p66"/>
          <p:cNvSpPr txBox="1">
            <a:spLocks noGrp="1"/>
          </p:cNvSpPr>
          <p:nvPr>
            <p:ph type="subTitle" idx="6"/>
          </p:nvPr>
        </p:nvSpPr>
        <p:spPr>
          <a:xfrm>
            <a:off x="3348076" y="1232847"/>
            <a:ext cx="5493365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_tradnl" sz="1050" dirty="0"/>
              <a:t>A pesar de no conseguir muy buenos resultados debido a la complejidad del </a:t>
            </a:r>
            <a:r>
              <a:rPr lang="es-ES_tradnl" sz="1050" dirty="0" err="1"/>
              <a:t>dataset</a:t>
            </a:r>
            <a:r>
              <a:rPr lang="es-ES_tradnl" sz="1050" dirty="0"/>
              <a:t>, nos hemos centrado en tratar de obtener el mayor </a:t>
            </a:r>
            <a:r>
              <a:rPr lang="es-ES_tradnl" sz="1050" dirty="0" err="1"/>
              <a:t>recall</a:t>
            </a:r>
            <a:r>
              <a:rPr lang="es-ES_tradnl" sz="1050" dirty="0"/>
              <a:t> posible en predecir infartos (1) para evitar muertes.</a:t>
            </a:r>
            <a:endParaRPr sz="1050" dirty="0"/>
          </a:p>
        </p:txBody>
      </p:sp>
      <p:sp>
        <p:nvSpPr>
          <p:cNvPr id="490" name="Google Shape;490;p66"/>
          <p:cNvSpPr/>
          <p:nvPr/>
        </p:nvSpPr>
        <p:spPr>
          <a:xfrm>
            <a:off x="916600" y="1186280"/>
            <a:ext cx="629700" cy="629700"/>
          </a:xfrm>
          <a:prstGeom prst="ellipse">
            <a:avLst/>
          </a:prstGeom>
          <a:noFill/>
          <a:ln w="19050">
            <a:solidFill>
              <a:srgbClr val="002060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92" name="Google Shape;492;p66"/>
          <p:cNvGrpSpPr/>
          <p:nvPr/>
        </p:nvGrpSpPr>
        <p:grpSpPr>
          <a:xfrm>
            <a:off x="1037958" y="1320490"/>
            <a:ext cx="399028" cy="354920"/>
            <a:chOff x="854261" y="2908813"/>
            <a:chExt cx="377474" cy="335748"/>
          </a:xfrm>
          <a:solidFill>
            <a:srgbClr val="002060"/>
          </a:solidFill>
        </p:grpSpPr>
        <p:sp>
          <p:nvSpPr>
            <p:cNvPr id="493" name="Google Shape;493;p66"/>
            <p:cNvSpPr/>
            <p:nvPr/>
          </p:nvSpPr>
          <p:spPr>
            <a:xfrm>
              <a:off x="896337" y="3079695"/>
              <a:ext cx="47391" cy="17091"/>
            </a:xfrm>
            <a:custGeom>
              <a:avLst/>
              <a:gdLst/>
              <a:ahLst/>
              <a:cxnLst/>
              <a:rect l="l" t="t" r="r" b="b"/>
              <a:pathLst>
                <a:path w="1489" h="537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58"/>
                    <a:pt x="179" y="358"/>
                  </a:cubicBezTo>
                  <a:cubicBezTo>
                    <a:pt x="381" y="358"/>
                    <a:pt x="941" y="382"/>
                    <a:pt x="1227" y="525"/>
                  </a:cubicBezTo>
                  <a:cubicBezTo>
                    <a:pt x="1251" y="537"/>
                    <a:pt x="1274" y="537"/>
                    <a:pt x="1298" y="537"/>
                  </a:cubicBezTo>
                  <a:cubicBezTo>
                    <a:pt x="1358" y="537"/>
                    <a:pt x="1417" y="501"/>
                    <a:pt x="1453" y="441"/>
                  </a:cubicBezTo>
                  <a:cubicBezTo>
                    <a:pt x="1489" y="358"/>
                    <a:pt x="1465" y="251"/>
                    <a:pt x="1370" y="203"/>
                  </a:cubicBezTo>
                  <a:cubicBezTo>
                    <a:pt x="977" y="1"/>
                    <a:pt x="215" y="1"/>
                    <a:pt x="17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66"/>
            <p:cNvSpPr/>
            <p:nvPr/>
          </p:nvSpPr>
          <p:spPr>
            <a:xfrm>
              <a:off x="878514" y="3191855"/>
              <a:ext cx="11426" cy="52706"/>
            </a:xfrm>
            <a:custGeom>
              <a:avLst/>
              <a:gdLst/>
              <a:ahLst/>
              <a:cxnLst/>
              <a:rect l="l" t="t" r="r" b="b"/>
              <a:pathLst>
                <a:path w="359" h="1656" extrusionOk="0">
                  <a:moveTo>
                    <a:pt x="179" y="1"/>
                  </a:moveTo>
                  <a:cubicBezTo>
                    <a:pt x="84" y="1"/>
                    <a:pt x="1" y="72"/>
                    <a:pt x="1" y="180"/>
                  </a:cubicBezTo>
                  <a:lnTo>
                    <a:pt x="1" y="1477"/>
                  </a:lnTo>
                  <a:cubicBezTo>
                    <a:pt x="1" y="1561"/>
                    <a:pt x="72" y="1656"/>
                    <a:pt x="179" y="1656"/>
                  </a:cubicBezTo>
                  <a:cubicBezTo>
                    <a:pt x="287" y="1656"/>
                    <a:pt x="358" y="1585"/>
                    <a:pt x="358" y="1477"/>
                  </a:cubicBezTo>
                  <a:lnTo>
                    <a:pt x="358" y="180"/>
                  </a:lnTo>
                  <a:cubicBezTo>
                    <a:pt x="358" y="72"/>
                    <a:pt x="287" y="1"/>
                    <a:pt x="17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66"/>
            <p:cNvSpPr/>
            <p:nvPr/>
          </p:nvSpPr>
          <p:spPr>
            <a:xfrm>
              <a:off x="854261" y="3050159"/>
              <a:ext cx="219451" cy="194052"/>
            </a:xfrm>
            <a:custGeom>
              <a:avLst/>
              <a:gdLst/>
              <a:ahLst/>
              <a:cxnLst/>
              <a:rect l="l" t="t" r="r" b="b"/>
              <a:pathLst>
                <a:path w="6895" h="6097" extrusionOk="0">
                  <a:moveTo>
                    <a:pt x="6406" y="679"/>
                  </a:moveTo>
                  <a:lnTo>
                    <a:pt x="6466" y="929"/>
                  </a:lnTo>
                  <a:cubicBezTo>
                    <a:pt x="6490" y="1000"/>
                    <a:pt x="6478" y="1072"/>
                    <a:pt x="6418" y="1119"/>
                  </a:cubicBezTo>
                  <a:lnTo>
                    <a:pt x="6311" y="1226"/>
                  </a:lnTo>
                  <a:lnTo>
                    <a:pt x="6073" y="988"/>
                  </a:lnTo>
                  <a:lnTo>
                    <a:pt x="6406" y="679"/>
                  </a:lnTo>
                  <a:close/>
                  <a:moveTo>
                    <a:pt x="3192" y="345"/>
                  </a:moveTo>
                  <a:lnTo>
                    <a:pt x="3192" y="1060"/>
                  </a:lnTo>
                  <a:cubicBezTo>
                    <a:pt x="3192" y="1179"/>
                    <a:pt x="3156" y="1298"/>
                    <a:pt x="3108" y="1405"/>
                  </a:cubicBezTo>
                  <a:lnTo>
                    <a:pt x="3025" y="1584"/>
                  </a:lnTo>
                  <a:cubicBezTo>
                    <a:pt x="3013" y="1607"/>
                    <a:pt x="3013" y="1619"/>
                    <a:pt x="3013" y="1655"/>
                  </a:cubicBezTo>
                  <a:lnTo>
                    <a:pt x="3013" y="2024"/>
                  </a:lnTo>
                  <a:cubicBezTo>
                    <a:pt x="2989" y="2286"/>
                    <a:pt x="2894" y="2524"/>
                    <a:pt x="2715" y="2703"/>
                  </a:cubicBezTo>
                  <a:cubicBezTo>
                    <a:pt x="2537" y="2881"/>
                    <a:pt x="2275" y="2965"/>
                    <a:pt x="2025" y="2965"/>
                  </a:cubicBezTo>
                  <a:cubicBezTo>
                    <a:pt x="1525" y="2953"/>
                    <a:pt x="1120" y="2500"/>
                    <a:pt x="1120" y="1988"/>
                  </a:cubicBezTo>
                  <a:lnTo>
                    <a:pt x="1120" y="1655"/>
                  </a:lnTo>
                  <a:cubicBezTo>
                    <a:pt x="1120" y="1619"/>
                    <a:pt x="1120" y="1596"/>
                    <a:pt x="1108" y="1584"/>
                  </a:cubicBezTo>
                  <a:lnTo>
                    <a:pt x="1001" y="1369"/>
                  </a:lnTo>
                  <a:cubicBezTo>
                    <a:pt x="953" y="1298"/>
                    <a:pt x="941" y="1203"/>
                    <a:pt x="941" y="1119"/>
                  </a:cubicBezTo>
                  <a:lnTo>
                    <a:pt x="941" y="1107"/>
                  </a:lnTo>
                  <a:cubicBezTo>
                    <a:pt x="941" y="691"/>
                    <a:pt x="1287" y="345"/>
                    <a:pt x="1703" y="345"/>
                  </a:cubicBezTo>
                  <a:close/>
                  <a:moveTo>
                    <a:pt x="2442" y="3227"/>
                  </a:moveTo>
                  <a:cubicBezTo>
                    <a:pt x="2454" y="3298"/>
                    <a:pt x="2477" y="3334"/>
                    <a:pt x="2489" y="3381"/>
                  </a:cubicBezTo>
                  <a:lnTo>
                    <a:pt x="2323" y="3548"/>
                  </a:lnTo>
                  <a:cubicBezTo>
                    <a:pt x="2251" y="3620"/>
                    <a:pt x="2156" y="3655"/>
                    <a:pt x="2059" y="3655"/>
                  </a:cubicBezTo>
                  <a:cubicBezTo>
                    <a:pt x="1962" y="3655"/>
                    <a:pt x="1864" y="3620"/>
                    <a:pt x="1787" y="3548"/>
                  </a:cubicBezTo>
                  <a:lnTo>
                    <a:pt x="1644" y="3393"/>
                  </a:lnTo>
                  <a:cubicBezTo>
                    <a:pt x="1656" y="3358"/>
                    <a:pt x="1668" y="3286"/>
                    <a:pt x="1668" y="3227"/>
                  </a:cubicBezTo>
                  <a:cubicBezTo>
                    <a:pt x="1775" y="3262"/>
                    <a:pt x="1894" y="3286"/>
                    <a:pt x="2013" y="3286"/>
                  </a:cubicBezTo>
                  <a:lnTo>
                    <a:pt x="2061" y="3286"/>
                  </a:lnTo>
                  <a:cubicBezTo>
                    <a:pt x="2192" y="3286"/>
                    <a:pt x="2323" y="3274"/>
                    <a:pt x="2442" y="3227"/>
                  </a:cubicBezTo>
                  <a:close/>
                  <a:moveTo>
                    <a:pt x="1680" y="0"/>
                  </a:moveTo>
                  <a:cubicBezTo>
                    <a:pt x="1072" y="0"/>
                    <a:pt x="584" y="500"/>
                    <a:pt x="584" y="1107"/>
                  </a:cubicBezTo>
                  <a:lnTo>
                    <a:pt x="584" y="1119"/>
                  </a:lnTo>
                  <a:cubicBezTo>
                    <a:pt x="584" y="1250"/>
                    <a:pt x="608" y="1405"/>
                    <a:pt x="668" y="1524"/>
                  </a:cubicBezTo>
                  <a:lnTo>
                    <a:pt x="763" y="1703"/>
                  </a:lnTo>
                  <a:lnTo>
                    <a:pt x="763" y="1988"/>
                  </a:lnTo>
                  <a:cubicBezTo>
                    <a:pt x="763" y="2429"/>
                    <a:pt x="977" y="2834"/>
                    <a:pt x="1311" y="3072"/>
                  </a:cubicBezTo>
                  <a:lnTo>
                    <a:pt x="1311" y="3215"/>
                  </a:lnTo>
                  <a:cubicBezTo>
                    <a:pt x="1311" y="3310"/>
                    <a:pt x="1251" y="3381"/>
                    <a:pt x="1156" y="3417"/>
                  </a:cubicBezTo>
                  <a:lnTo>
                    <a:pt x="537" y="3596"/>
                  </a:lnTo>
                  <a:cubicBezTo>
                    <a:pt x="227" y="3679"/>
                    <a:pt x="1" y="3965"/>
                    <a:pt x="1" y="4286"/>
                  </a:cubicBezTo>
                  <a:lnTo>
                    <a:pt x="1" y="5917"/>
                  </a:lnTo>
                  <a:cubicBezTo>
                    <a:pt x="1" y="6001"/>
                    <a:pt x="72" y="6096"/>
                    <a:pt x="179" y="6096"/>
                  </a:cubicBezTo>
                  <a:cubicBezTo>
                    <a:pt x="287" y="6096"/>
                    <a:pt x="358" y="6013"/>
                    <a:pt x="358" y="5917"/>
                  </a:cubicBezTo>
                  <a:lnTo>
                    <a:pt x="358" y="4310"/>
                  </a:lnTo>
                  <a:cubicBezTo>
                    <a:pt x="358" y="4143"/>
                    <a:pt x="477" y="3977"/>
                    <a:pt x="644" y="3929"/>
                  </a:cubicBezTo>
                  <a:lnTo>
                    <a:pt x="1263" y="3751"/>
                  </a:lnTo>
                  <a:cubicBezTo>
                    <a:pt x="1322" y="3739"/>
                    <a:pt x="1370" y="3715"/>
                    <a:pt x="1418" y="3679"/>
                  </a:cubicBezTo>
                  <a:lnTo>
                    <a:pt x="1513" y="3786"/>
                  </a:lnTo>
                  <a:cubicBezTo>
                    <a:pt x="1668" y="3929"/>
                    <a:pt x="1846" y="3989"/>
                    <a:pt x="2037" y="3989"/>
                  </a:cubicBezTo>
                  <a:cubicBezTo>
                    <a:pt x="2227" y="3989"/>
                    <a:pt x="2406" y="3917"/>
                    <a:pt x="2561" y="3786"/>
                  </a:cubicBezTo>
                  <a:lnTo>
                    <a:pt x="2727" y="3620"/>
                  </a:lnTo>
                  <a:cubicBezTo>
                    <a:pt x="2799" y="3655"/>
                    <a:pt x="2870" y="3679"/>
                    <a:pt x="2966" y="3679"/>
                  </a:cubicBezTo>
                  <a:lnTo>
                    <a:pt x="3001" y="3679"/>
                  </a:lnTo>
                  <a:cubicBezTo>
                    <a:pt x="3144" y="3679"/>
                    <a:pt x="3275" y="3620"/>
                    <a:pt x="3382" y="3524"/>
                  </a:cubicBezTo>
                  <a:lnTo>
                    <a:pt x="5823" y="1226"/>
                  </a:lnTo>
                  <a:lnTo>
                    <a:pt x="6061" y="1465"/>
                  </a:lnTo>
                  <a:lnTo>
                    <a:pt x="3239" y="4274"/>
                  </a:lnTo>
                  <a:cubicBezTo>
                    <a:pt x="3061" y="4453"/>
                    <a:pt x="2977" y="4679"/>
                    <a:pt x="2977" y="4917"/>
                  </a:cubicBezTo>
                  <a:lnTo>
                    <a:pt x="2977" y="5906"/>
                  </a:lnTo>
                  <a:cubicBezTo>
                    <a:pt x="2977" y="6001"/>
                    <a:pt x="3049" y="6096"/>
                    <a:pt x="3156" y="6096"/>
                  </a:cubicBezTo>
                  <a:cubicBezTo>
                    <a:pt x="3239" y="6096"/>
                    <a:pt x="3335" y="6013"/>
                    <a:pt x="3335" y="5906"/>
                  </a:cubicBezTo>
                  <a:lnTo>
                    <a:pt x="3335" y="4917"/>
                  </a:lnTo>
                  <a:cubicBezTo>
                    <a:pt x="3335" y="4763"/>
                    <a:pt x="3394" y="4620"/>
                    <a:pt x="3501" y="4513"/>
                  </a:cubicBezTo>
                  <a:lnTo>
                    <a:pt x="6656" y="1357"/>
                  </a:lnTo>
                  <a:cubicBezTo>
                    <a:pt x="6787" y="1226"/>
                    <a:pt x="6847" y="1024"/>
                    <a:pt x="6799" y="834"/>
                  </a:cubicBezTo>
                  <a:lnTo>
                    <a:pt x="6704" y="405"/>
                  </a:lnTo>
                  <a:lnTo>
                    <a:pt x="6823" y="298"/>
                  </a:lnTo>
                  <a:cubicBezTo>
                    <a:pt x="6895" y="238"/>
                    <a:pt x="6895" y="119"/>
                    <a:pt x="6823" y="60"/>
                  </a:cubicBezTo>
                  <a:cubicBezTo>
                    <a:pt x="6793" y="24"/>
                    <a:pt x="6749" y="6"/>
                    <a:pt x="6704" y="6"/>
                  </a:cubicBezTo>
                  <a:cubicBezTo>
                    <a:pt x="6659" y="6"/>
                    <a:pt x="6615" y="24"/>
                    <a:pt x="6585" y="60"/>
                  </a:cubicBezTo>
                  <a:lnTo>
                    <a:pt x="3156" y="3274"/>
                  </a:lnTo>
                  <a:cubicBezTo>
                    <a:pt x="3132" y="3310"/>
                    <a:pt x="3073" y="3334"/>
                    <a:pt x="3025" y="3334"/>
                  </a:cubicBezTo>
                  <a:lnTo>
                    <a:pt x="2977" y="3334"/>
                  </a:lnTo>
                  <a:cubicBezTo>
                    <a:pt x="2870" y="3334"/>
                    <a:pt x="2787" y="3250"/>
                    <a:pt x="2787" y="3143"/>
                  </a:cubicBezTo>
                  <a:lnTo>
                    <a:pt x="2787" y="3084"/>
                  </a:lnTo>
                  <a:cubicBezTo>
                    <a:pt x="2846" y="3036"/>
                    <a:pt x="2906" y="3000"/>
                    <a:pt x="2942" y="2953"/>
                  </a:cubicBezTo>
                  <a:cubicBezTo>
                    <a:pt x="3204" y="2715"/>
                    <a:pt x="3335" y="2381"/>
                    <a:pt x="3335" y="2024"/>
                  </a:cubicBezTo>
                  <a:lnTo>
                    <a:pt x="3335" y="1703"/>
                  </a:lnTo>
                  <a:lnTo>
                    <a:pt x="3406" y="1572"/>
                  </a:lnTo>
                  <a:cubicBezTo>
                    <a:pt x="3477" y="1417"/>
                    <a:pt x="3525" y="1238"/>
                    <a:pt x="3525" y="1072"/>
                  </a:cubicBezTo>
                  <a:lnTo>
                    <a:pt x="3525" y="179"/>
                  </a:lnTo>
                  <a:cubicBezTo>
                    <a:pt x="3525" y="95"/>
                    <a:pt x="3454" y="0"/>
                    <a:pt x="3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66"/>
            <p:cNvSpPr/>
            <p:nvPr/>
          </p:nvSpPr>
          <p:spPr>
            <a:xfrm>
              <a:off x="1008115" y="2908813"/>
              <a:ext cx="223620" cy="188355"/>
            </a:xfrm>
            <a:custGeom>
              <a:avLst/>
              <a:gdLst/>
              <a:ahLst/>
              <a:cxnLst/>
              <a:rect l="l" t="t" r="r" b="b"/>
              <a:pathLst>
                <a:path w="7026" h="5918" extrusionOk="0">
                  <a:moveTo>
                    <a:pt x="560" y="0"/>
                  </a:moveTo>
                  <a:cubicBezTo>
                    <a:pt x="263" y="0"/>
                    <a:pt x="1" y="238"/>
                    <a:pt x="1" y="548"/>
                  </a:cubicBezTo>
                  <a:lnTo>
                    <a:pt x="1" y="5251"/>
                  </a:lnTo>
                  <a:cubicBezTo>
                    <a:pt x="1" y="5334"/>
                    <a:pt x="84" y="5429"/>
                    <a:pt x="179" y="5429"/>
                  </a:cubicBezTo>
                  <a:cubicBezTo>
                    <a:pt x="287" y="5429"/>
                    <a:pt x="358" y="5358"/>
                    <a:pt x="358" y="5251"/>
                  </a:cubicBezTo>
                  <a:lnTo>
                    <a:pt x="358" y="548"/>
                  </a:lnTo>
                  <a:cubicBezTo>
                    <a:pt x="358" y="441"/>
                    <a:pt x="453" y="357"/>
                    <a:pt x="560" y="357"/>
                  </a:cubicBezTo>
                  <a:lnTo>
                    <a:pt x="6478" y="357"/>
                  </a:lnTo>
                  <a:cubicBezTo>
                    <a:pt x="6585" y="357"/>
                    <a:pt x="6668" y="441"/>
                    <a:pt x="6668" y="548"/>
                  </a:cubicBezTo>
                  <a:lnTo>
                    <a:pt x="6668" y="5370"/>
                  </a:lnTo>
                  <a:cubicBezTo>
                    <a:pt x="6668" y="5477"/>
                    <a:pt x="6585" y="5560"/>
                    <a:pt x="6478" y="5560"/>
                  </a:cubicBezTo>
                  <a:lnTo>
                    <a:pt x="2525" y="5560"/>
                  </a:lnTo>
                  <a:cubicBezTo>
                    <a:pt x="2430" y="5560"/>
                    <a:pt x="2346" y="5632"/>
                    <a:pt x="2346" y="5739"/>
                  </a:cubicBezTo>
                  <a:cubicBezTo>
                    <a:pt x="2346" y="5846"/>
                    <a:pt x="2418" y="5917"/>
                    <a:pt x="2525" y="5917"/>
                  </a:cubicBezTo>
                  <a:lnTo>
                    <a:pt x="6478" y="5917"/>
                  </a:lnTo>
                  <a:cubicBezTo>
                    <a:pt x="6775" y="5917"/>
                    <a:pt x="7025" y="5679"/>
                    <a:pt x="7025" y="5370"/>
                  </a:cubicBezTo>
                  <a:lnTo>
                    <a:pt x="7025" y="548"/>
                  </a:lnTo>
                  <a:cubicBezTo>
                    <a:pt x="7025" y="226"/>
                    <a:pt x="6787" y="0"/>
                    <a:pt x="649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" name="Google Shape;497;p66"/>
            <p:cNvSpPr/>
            <p:nvPr/>
          </p:nvSpPr>
          <p:spPr>
            <a:xfrm>
              <a:off x="1037301" y="2944046"/>
              <a:ext cx="165248" cy="105763"/>
            </a:xfrm>
            <a:custGeom>
              <a:avLst/>
              <a:gdLst/>
              <a:ahLst/>
              <a:cxnLst/>
              <a:rect l="l" t="t" r="r" b="b"/>
              <a:pathLst>
                <a:path w="5192" h="3323" extrusionOk="0">
                  <a:moveTo>
                    <a:pt x="4084" y="0"/>
                  </a:moveTo>
                  <a:cubicBezTo>
                    <a:pt x="4001" y="0"/>
                    <a:pt x="3906" y="84"/>
                    <a:pt x="3906" y="179"/>
                  </a:cubicBezTo>
                  <a:cubicBezTo>
                    <a:pt x="3906" y="286"/>
                    <a:pt x="3989" y="358"/>
                    <a:pt x="4084" y="358"/>
                  </a:cubicBezTo>
                  <a:lnTo>
                    <a:pt x="4596" y="358"/>
                  </a:lnTo>
                  <a:lnTo>
                    <a:pt x="2691" y="2263"/>
                  </a:lnTo>
                  <a:lnTo>
                    <a:pt x="1882" y="1465"/>
                  </a:lnTo>
                  <a:cubicBezTo>
                    <a:pt x="1846" y="1429"/>
                    <a:pt x="1801" y="1411"/>
                    <a:pt x="1758" y="1411"/>
                  </a:cubicBezTo>
                  <a:cubicBezTo>
                    <a:pt x="1715" y="1411"/>
                    <a:pt x="1673" y="1429"/>
                    <a:pt x="1644" y="1465"/>
                  </a:cubicBezTo>
                  <a:lnTo>
                    <a:pt x="72" y="3036"/>
                  </a:lnTo>
                  <a:cubicBezTo>
                    <a:pt x="1" y="3120"/>
                    <a:pt x="1" y="3215"/>
                    <a:pt x="72" y="3275"/>
                  </a:cubicBezTo>
                  <a:cubicBezTo>
                    <a:pt x="96" y="3310"/>
                    <a:pt x="143" y="3322"/>
                    <a:pt x="191" y="3322"/>
                  </a:cubicBezTo>
                  <a:cubicBezTo>
                    <a:pt x="239" y="3322"/>
                    <a:pt x="274" y="3310"/>
                    <a:pt x="310" y="3275"/>
                  </a:cubicBezTo>
                  <a:lnTo>
                    <a:pt x="1763" y="1822"/>
                  </a:lnTo>
                  <a:lnTo>
                    <a:pt x="2572" y="2620"/>
                  </a:lnTo>
                  <a:cubicBezTo>
                    <a:pt x="2608" y="2661"/>
                    <a:pt x="2653" y="2682"/>
                    <a:pt x="2696" y="2682"/>
                  </a:cubicBezTo>
                  <a:cubicBezTo>
                    <a:pt x="2739" y="2682"/>
                    <a:pt x="2781" y="2661"/>
                    <a:pt x="2810" y="2620"/>
                  </a:cubicBezTo>
                  <a:lnTo>
                    <a:pt x="4835" y="596"/>
                  </a:lnTo>
                  <a:lnTo>
                    <a:pt x="4835" y="1108"/>
                  </a:lnTo>
                  <a:cubicBezTo>
                    <a:pt x="4835" y="1191"/>
                    <a:pt x="4906" y="1286"/>
                    <a:pt x="5013" y="1286"/>
                  </a:cubicBezTo>
                  <a:cubicBezTo>
                    <a:pt x="5120" y="1286"/>
                    <a:pt x="5192" y="1215"/>
                    <a:pt x="5192" y="1108"/>
                  </a:cubicBezTo>
                  <a:lnTo>
                    <a:pt x="5192" y="179"/>
                  </a:lnTo>
                  <a:cubicBezTo>
                    <a:pt x="5192" y="84"/>
                    <a:pt x="5120" y="0"/>
                    <a:pt x="501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cxnSp>
        <p:nvCxnSpPr>
          <p:cNvPr id="508" name="Google Shape;508;p66"/>
          <p:cNvCxnSpPr>
            <a:cxnSpLocks/>
          </p:cNvCxnSpPr>
          <p:nvPr/>
        </p:nvCxnSpPr>
        <p:spPr>
          <a:xfrm>
            <a:off x="916600" y="962050"/>
            <a:ext cx="2382013" cy="0"/>
          </a:xfrm>
          <a:prstGeom prst="straightConnector1">
            <a:avLst/>
          </a:prstGeom>
          <a:noFill/>
          <a:ln w="19050" cap="flat" cmpd="sng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3618EEDF-1377-4A1A-BC32-AC3764F90E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3828" y="2523469"/>
            <a:ext cx="2825895" cy="990325"/>
          </a:xfrm>
          <a:prstGeom prst="rect">
            <a:avLst/>
          </a:prstGeom>
        </p:spPr>
      </p:pic>
      <p:sp>
        <p:nvSpPr>
          <p:cNvPr id="47" name="Google Shape;524;p67">
            <a:extLst>
              <a:ext uri="{FF2B5EF4-FFF2-40B4-BE49-F238E27FC236}">
                <a16:creationId xmlns:a16="http://schemas.microsoft.com/office/drawing/2014/main" id="{2896D49D-DB8B-4429-8DD1-723B4CA19CD1}"/>
              </a:ext>
            </a:extLst>
          </p:cNvPr>
          <p:cNvSpPr txBox="1">
            <a:spLocks/>
          </p:cNvSpPr>
          <p:nvPr/>
        </p:nvSpPr>
        <p:spPr>
          <a:xfrm>
            <a:off x="123827" y="2026356"/>
            <a:ext cx="2825895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s-ES" sz="1200" dirty="0">
                <a:solidFill>
                  <a:srgbClr val="002060"/>
                </a:solidFill>
              </a:rPr>
              <a:t>DECISION TREE CLASSIFIER</a:t>
            </a:r>
          </a:p>
        </p:txBody>
      </p:sp>
      <p:sp>
        <p:nvSpPr>
          <p:cNvPr id="48" name="Google Shape;524;p67">
            <a:extLst>
              <a:ext uri="{FF2B5EF4-FFF2-40B4-BE49-F238E27FC236}">
                <a16:creationId xmlns:a16="http://schemas.microsoft.com/office/drawing/2014/main" id="{34A7DC0B-6593-4FD7-BCA4-371D7FF738F7}"/>
              </a:ext>
            </a:extLst>
          </p:cNvPr>
          <p:cNvSpPr txBox="1">
            <a:spLocks/>
          </p:cNvSpPr>
          <p:nvPr/>
        </p:nvSpPr>
        <p:spPr>
          <a:xfrm>
            <a:off x="3149527" y="2026356"/>
            <a:ext cx="2825895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s-ES" sz="1200" dirty="0">
                <a:solidFill>
                  <a:srgbClr val="002060"/>
                </a:solidFill>
              </a:rPr>
              <a:t>RANDOM FOREST CLASSIFIER</a:t>
            </a:r>
          </a:p>
        </p:txBody>
      </p:sp>
      <p:sp>
        <p:nvSpPr>
          <p:cNvPr id="49" name="Google Shape;524;p67">
            <a:extLst>
              <a:ext uri="{FF2B5EF4-FFF2-40B4-BE49-F238E27FC236}">
                <a16:creationId xmlns:a16="http://schemas.microsoft.com/office/drawing/2014/main" id="{FBD9ED80-2915-4A94-A829-92A183A29D59}"/>
              </a:ext>
            </a:extLst>
          </p:cNvPr>
          <p:cNvSpPr txBox="1">
            <a:spLocks/>
          </p:cNvSpPr>
          <p:nvPr/>
        </p:nvSpPr>
        <p:spPr>
          <a:xfrm>
            <a:off x="6175227" y="2026356"/>
            <a:ext cx="2825895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s-ES" sz="1200" dirty="0">
                <a:solidFill>
                  <a:srgbClr val="002060"/>
                </a:solidFill>
              </a:rPr>
              <a:t>XGB CLASSIFIER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62B22F9-BA2F-4FE3-83B9-00247E0C93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49528" y="2517161"/>
            <a:ext cx="2825895" cy="100294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0F33BCE-CB23-46FB-A7D0-DCFE7A38F4E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75227" y="2522861"/>
            <a:ext cx="2825895" cy="99154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7AF3EF4-D266-40F6-97A9-1B94CE11BC2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37991" y="3979878"/>
            <a:ext cx="2825895" cy="1023602"/>
          </a:xfrm>
          <a:prstGeom prst="rect">
            <a:avLst/>
          </a:prstGeom>
        </p:spPr>
      </p:pic>
      <p:sp>
        <p:nvSpPr>
          <p:cNvPr id="56" name="Google Shape;524;p67">
            <a:extLst>
              <a:ext uri="{FF2B5EF4-FFF2-40B4-BE49-F238E27FC236}">
                <a16:creationId xmlns:a16="http://schemas.microsoft.com/office/drawing/2014/main" id="{48224B70-34CF-430D-97C6-FE92E8C95DC9}"/>
              </a:ext>
            </a:extLst>
          </p:cNvPr>
          <p:cNvSpPr txBox="1">
            <a:spLocks/>
          </p:cNvSpPr>
          <p:nvPr/>
        </p:nvSpPr>
        <p:spPr>
          <a:xfrm>
            <a:off x="2137415" y="3666843"/>
            <a:ext cx="1858800" cy="326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s-ES" sz="1200" dirty="0">
                <a:solidFill>
                  <a:srgbClr val="002060"/>
                </a:solidFill>
              </a:rPr>
              <a:t>SVC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7774EE85-3FD1-41F0-A693-D67E5553ACD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62279" y="3983653"/>
            <a:ext cx="2825895" cy="1016052"/>
          </a:xfrm>
          <a:prstGeom prst="rect">
            <a:avLst/>
          </a:prstGeom>
        </p:spPr>
      </p:pic>
      <p:sp>
        <p:nvSpPr>
          <p:cNvPr id="59" name="Google Shape;524;p67">
            <a:extLst>
              <a:ext uri="{FF2B5EF4-FFF2-40B4-BE49-F238E27FC236}">
                <a16:creationId xmlns:a16="http://schemas.microsoft.com/office/drawing/2014/main" id="{2BB63305-6A71-4127-ADFC-F084CAD24F48}"/>
              </a:ext>
            </a:extLst>
          </p:cNvPr>
          <p:cNvSpPr txBox="1">
            <a:spLocks/>
          </p:cNvSpPr>
          <p:nvPr/>
        </p:nvSpPr>
        <p:spPr>
          <a:xfrm>
            <a:off x="4963818" y="3666843"/>
            <a:ext cx="2422816" cy="326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  <a:defRPr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s-ES" sz="1200" dirty="0">
                <a:solidFill>
                  <a:srgbClr val="002060"/>
                </a:solidFill>
              </a:rPr>
              <a:t>LOGISTIC REGRESSION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707759-9D05-4CA7-9A20-07AD0D95C8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4525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707759-9D05-4CA7-9A20-07AD0D95C8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2" name="Google Shape;582;p71"/>
          <p:cNvSpPr txBox="1">
            <a:spLocks noGrp="1"/>
          </p:cNvSpPr>
          <p:nvPr>
            <p:ph type="title"/>
          </p:nvPr>
        </p:nvSpPr>
        <p:spPr>
          <a:xfrm>
            <a:off x="366666" y="1419705"/>
            <a:ext cx="4304194" cy="1821035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002060"/>
                </a:solidFill>
              </a:rPr>
              <a:t>VISUALIZACIÓN DE RESULTADOS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584" name="Google Shape;584;p71"/>
          <p:cNvSpPr txBox="1">
            <a:spLocks noGrp="1"/>
          </p:cNvSpPr>
          <p:nvPr>
            <p:ph type="title" idx="2"/>
          </p:nvPr>
        </p:nvSpPr>
        <p:spPr>
          <a:xfrm>
            <a:off x="1641413" y="1367754"/>
            <a:ext cx="1754700" cy="604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002060"/>
                </a:solidFill>
              </a:rPr>
              <a:t>03: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9" name="Google Shape;486;p66">
            <a:extLst>
              <a:ext uri="{FF2B5EF4-FFF2-40B4-BE49-F238E27FC236}">
                <a16:creationId xmlns:a16="http://schemas.microsoft.com/office/drawing/2014/main" id="{05526FE4-A493-4E47-9413-2034ACB3BD4C}"/>
              </a:ext>
            </a:extLst>
          </p:cNvPr>
          <p:cNvSpPr txBox="1">
            <a:spLocks/>
          </p:cNvSpPr>
          <p:nvPr/>
        </p:nvSpPr>
        <p:spPr>
          <a:xfrm>
            <a:off x="1873183" y="3170947"/>
            <a:ext cx="1291159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/>
            <a:r>
              <a:rPr lang="es-ES" sz="1050" dirty="0">
                <a:solidFill>
                  <a:srgbClr val="002060"/>
                </a:solidFill>
              </a:rPr>
              <a:t>CON POWER BI</a:t>
            </a:r>
          </a:p>
        </p:txBody>
      </p:sp>
      <p:pic>
        <p:nvPicPr>
          <p:cNvPr id="14340" name="Picture 4" descr="See the source image">
            <a:extLst>
              <a:ext uri="{FF2B5EF4-FFF2-40B4-BE49-F238E27FC236}">
                <a16:creationId xmlns:a16="http://schemas.microsoft.com/office/drawing/2014/main" id="{0523C98A-E874-4CED-9507-655D8ECAA9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9699" y="1670154"/>
            <a:ext cx="4384301" cy="1741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ursing Capstone XL by Slidesgo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1F7444"/>
      </a:accent1>
      <a:accent2>
        <a:srgbClr val="434343"/>
      </a:accent2>
      <a:accent3>
        <a:srgbClr val="FBD76D"/>
      </a:accent3>
      <a:accent4>
        <a:srgbClr val="DA3030"/>
      </a:accent4>
      <a:accent5>
        <a:srgbClr val="52AC79"/>
      </a:accent5>
      <a:accent6>
        <a:srgbClr val="E0B945"/>
      </a:accent6>
      <a:hlink>
        <a:srgbClr val="212121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0</TotalTime>
  <Words>323</Words>
  <Application>Microsoft Office PowerPoint</Application>
  <PresentationFormat>On-screen Show (16:9)</PresentationFormat>
  <Paragraphs>56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Montserrat</vt:lpstr>
      <vt:lpstr>Montserrat ExtraBold</vt:lpstr>
      <vt:lpstr>Montserrat Medium</vt:lpstr>
      <vt:lpstr>Righteous</vt:lpstr>
      <vt:lpstr>Nursing Capstone XL by Slidesgo</vt:lpstr>
      <vt:lpstr>think-cell Slide</vt:lpstr>
      <vt:lpstr>¿Cómo predecir un infarto?</vt:lpstr>
      <vt:lpstr>PowerPoint Presentation</vt:lpstr>
      <vt:lpstr>ACERCA DEL PROYECTO</vt:lpstr>
      <vt:lpstr>INTRODUCCIÓN</vt:lpstr>
      <vt:lpstr>DATASET</vt:lpstr>
      <vt:lpstr>MODELO DE CLASIFICACIÓN</vt:lpstr>
      <vt:lpstr>ETAPAS DEL MODELO</vt:lpstr>
      <vt:lpstr>RESULTADOS</vt:lpstr>
      <vt:lpstr>VISUALIZACIÓN DE RESULTADOS</vt:lpstr>
      <vt:lpstr>PowerPoint Presentation</vt:lpstr>
      <vt:lpstr>CONCLUSIONES PRINCIPALES</vt:lpstr>
      <vt:lpstr>CONCLUSIONES GENERALES DEL PROYECTO</vt:lpstr>
      <vt:lpstr>¡MUCHAS GRACIAS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¿Cómo predecir un infarto?</dc:title>
  <cp:lastModifiedBy>Andrea Evrard Comas</cp:lastModifiedBy>
  <cp:revision>9</cp:revision>
  <dcterms:modified xsi:type="dcterms:W3CDTF">2022-12-21T18:19:07Z</dcterms:modified>
</cp:coreProperties>
</file>